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.xml" ContentType="application/vnd.openxmlformats-officedocument.presentationml.notesSlide+xml"/>
  <Override PartName="/ppt/tags/tag62.xml" ContentType="application/vnd.openxmlformats-officedocument.presentationml.tags+xml"/>
  <Override PartName="/ppt/notesSlides/notesSlide3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4.xml" ContentType="application/vnd.openxmlformats-officedocument.presentationml.notesSlide+xml"/>
  <Override PartName="/ppt/tags/tag65.xml" ContentType="application/vnd.openxmlformats-officedocument.presentationml.tags+xml"/>
  <Override PartName="/ppt/notesSlides/notesSlide5.xml" ContentType="application/vnd.openxmlformats-officedocument.presentationml.notesSlide+xml"/>
  <Override PartName="/ppt/tags/tag66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</p:sldMasterIdLst>
  <p:notesMasterIdLst>
    <p:notesMasterId r:id="rId28"/>
  </p:notesMasterIdLst>
  <p:sldIdLst>
    <p:sldId id="258" r:id="rId3"/>
    <p:sldId id="315" r:id="rId4"/>
    <p:sldId id="316" r:id="rId5"/>
    <p:sldId id="319" r:id="rId6"/>
    <p:sldId id="322" r:id="rId7"/>
    <p:sldId id="320" r:id="rId8"/>
    <p:sldId id="321" r:id="rId9"/>
    <p:sldId id="317" r:id="rId10"/>
    <p:sldId id="318" r:id="rId11"/>
    <p:sldId id="311" r:id="rId12"/>
    <p:sldId id="312" r:id="rId13"/>
    <p:sldId id="313" r:id="rId14"/>
    <p:sldId id="314" r:id="rId15"/>
    <p:sldId id="296" r:id="rId16"/>
    <p:sldId id="310" r:id="rId17"/>
    <p:sldId id="302" r:id="rId18"/>
    <p:sldId id="303" r:id="rId19"/>
    <p:sldId id="297" r:id="rId20"/>
    <p:sldId id="304" r:id="rId21"/>
    <p:sldId id="306" r:id="rId22"/>
    <p:sldId id="299" r:id="rId23"/>
    <p:sldId id="307" r:id="rId24"/>
    <p:sldId id="308" r:id="rId25"/>
    <p:sldId id="309" r:id="rId26"/>
    <p:sldId id="281" r:id="rId27"/>
  </p:sldIdLst>
  <p:sldSz cx="12192000" cy="6858000"/>
  <p:notesSz cx="6858000" cy="9144000"/>
  <p:custDataLst>
    <p:tags r:id="rId29"/>
  </p:custDataLst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88203" autoAdjust="0"/>
  </p:normalViewPr>
  <p:slideViewPr>
    <p:cSldViewPr snapToGrid="0">
      <p:cViewPr varScale="1">
        <p:scale>
          <a:sx n="65" d="100"/>
          <a:sy n="65" d="100"/>
        </p:scale>
        <p:origin x="93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D9771-C73A-4FD2-B146-1BC1D0E3F218}" type="datetimeFigureOut">
              <a:rPr lang="es-PE" smtClean="0"/>
              <a:t>28/02/2018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1E08AA-D5FC-46D2-AFB1-B9F139A4A89D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202210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 err="1" smtClean="0"/>
              <a:t>Think</a:t>
            </a:r>
            <a:r>
              <a:rPr lang="es-PE" dirty="0" smtClean="0"/>
              <a:t> </a:t>
            </a:r>
            <a:r>
              <a:rPr lang="es-PE" dirty="0" err="1" smtClean="0"/>
              <a:t>cell</a:t>
            </a:r>
            <a:r>
              <a:rPr lang="es-PE" dirty="0" smtClean="0"/>
              <a:t> para gráfico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1E08AA-D5FC-46D2-AFB1-B9F139A4A89D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13951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1E08AA-D5FC-46D2-AFB1-B9F139A4A89D}" type="slidenum">
              <a:rPr lang="es-PE" smtClean="0"/>
              <a:t>16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505740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1E08AA-D5FC-46D2-AFB1-B9F139A4A89D}" type="slidenum">
              <a:rPr lang="es-PE" smtClean="0"/>
              <a:t>1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37627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Motivo de descuadre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Palancas que afec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Campañ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¿Área que debe editarlo?</a:t>
            </a:r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1E08AA-D5FC-46D2-AFB1-B9F139A4A89D}" type="slidenum">
              <a:rPr lang="es-PE" smtClean="0"/>
              <a:t>19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66394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Motivo de descuadre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Palancas que afec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Campañ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¿Área que debe editarlo?</a:t>
            </a:r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1E08AA-D5FC-46D2-AFB1-B9F139A4A89D}" type="slidenum">
              <a:rPr lang="es-PE" smtClean="0"/>
              <a:t>2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545876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1E08AA-D5FC-46D2-AFB1-B9F139A4A89D}" type="slidenum">
              <a:rPr lang="es-PE" smtClean="0"/>
              <a:t>2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584008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8.bin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0.bin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ortada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9863" y="3051881"/>
            <a:ext cx="8534400" cy="1470025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9863" y="4658234"/>
            <a:ext cx="8534400" cy="696177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8951" y="5359403"/>
            <a:ext cx="2844800" cy="365125"/>
          </a:xfrm>
        </p:spPr>
        <p:txBody>
          <a:bodyPr/>
          <a:lstStyle>
            <a:lvl1pPr>
              <a:defRPr sz="1200">
                <a:solidFill>
                  <a:srgbClr val="7F7F7F"/>
                </a:solidFill>
              </a:defRPr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405" y="5754438"/>
            <a:ext cx="1440160" cy="750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9633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cripcion Pil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0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s-PE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cxnSp>
        <p:nvCxnSpPr>
          <p:cNvPr id="10" name="Conector recto 9"/>
          <p:cNvCxnSpPr/>
          <p:nvPr/>
        </p:nvCxnSpPr>
        <p:spPr>
          <a:xfrm>
            <a:off x="733503" y="1773660"/>
            <a:ext cx="0" cy="449651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732710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Conector recto 11"/>
          <p:cNvCxnSpPr/>
          <p:nvPr/>
        </p:nvCxnSpPr>
        <p:spPr>
          <a:xfrm>
            <a:off x="1152168" y="3200113"/>
            <a:ext cx="65287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Conector recto 12"/>
          <p:cNvCxnSpPr/>
          <p:nvPr/>
        </p:nvCxnSpPr>
        <p:spPr>
          <a:xfrm>
            <a:off x="1152168" y="4705876"/>
            <a:ext cx="65287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4" name="Grupo 13"/>
          <p:cNvGrpSpPr/>
          <p:nvPr/>
        </p:nvGrpSpPr>
        <p:grpSpPr>
          <a:xfrm>
            <a:off x="624049" y="1893130"/>
            <a:ext cx="2640000" cy="1080000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15" name="Grupo 14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17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Forma libre 17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CuadroTexto 15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/>
              <a:r>
                <a:rPr lang="es-PE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¿Qué se va a responder? </a:t>
              </a:r>
              <a:endPara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624049" y="3362784"/>
            <a:ext cx="2640000" cy="1080000"/>
            <a:chOff x="1462955" y="2119343"/>
            <a:chExt cx="1656185" cy="1473512"/>
          </a:xfrm>
          <a:solidFill>
            <a:srgbClr val="CED0EA"/>
          </a:solidFill>
        </p:grpSpPr>
        <p:grpSp>
          <p:nvGrpSpPr>
            <p:cNvPr id="20" name="Grupo 19"/>
            <p:cNvGrpSpPr/>
            <p:nvPr/>
          </p:nvGrpSpPr>
          <p:grpSpPr>
            <a:xfrm>
              <a:off x="1462955" y="2119343"/>
              <a:ext cx="1656185" cy="1473512"/>
              <a:chOff x="1763686" y="1940801"/>
              <a:chExt cx="2079181" cy="1800959"/>
            </a:xfrm>
            <a:grpFill/>
          </p:grpSpPr>
          <p:sp>
            <p:nvSpPr>
              <p:cNvPr id="22" name="Rectángulo redondeado 19"/>
              <p:cNvSpPr/>
              <p:nvPr/>
            </p:nvSpPr>
            <p:spPr>
              <a:xfrm>
                <a:off x="1763686" y="1940801"/>
                <a:ext cx="2079181" cy="1800959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Forma libre 22"/>
              <p:cNvSpPr/>
              <p:nvPr/>
            </p:nvSpPr>
            <p:spPr>
              <a:xfrm>
                <a:off x="1774031" y="3565396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CuadroTexto 20"/>
            <p:cNvSpPr txBox="1"/>
            <p:nvPr/>
          </p:nvSpPr>
          <p:spPr>
            <a:xfrm>
              <a:off x="1483895" y="2378216"/>
              <a:ext cx="1554272" cy="7138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/>
              <a:r>
                <a:rPr lang="es-PE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¿</a:t>
              </a:r>
              <a:r>
                <a:rPr lang="es-PE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ómo lo </a:t>
              </a:r>
              <a:r>
                <a:rPr lang="es-PE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ponderemos?</a:t>
              </a:r>
            </a:p>
          </p:txBody>
        </p:sp>
      </p:grpSp>
      <p:grpSp>
        <p:nvGrpSpPr>
          <p:cNvPr id="24" name="Grupo 23"/>
          <p:cNvGrpSpPr/>
          <p:nvPr/>
        </p:nvGrpSpPr>
        <p:grpSpPr>
          <a:xfrm>
            <a:off x="621023" y="4839939"/>
            <a:ext cx="2640000" cy="1080000"/>
            <a:chOff x="1462955" y="2117750"/>
            <a:chExt cx="1656185" cy="1395618"/>
          </a:xfrm>
          <a:solidFill>
            <a:srgbClr val="BFB7E3"/>
          </a:solidFill>
        </p:grpSpPr>
        <p:grpSp>
          <p:nvGrpSpPr>
            <p:cNvPr id="25" name="Grupo 24"/>
            <p:cNvGrpSpPr/>
            <p:nvPr/>
          </p:nvGrpSpPr>
          <p:grpSpPr>
            <a:xfrm>
              <a:off x="1462955" y="2117750"/>
              <a:ext cx="1656185" cy="1395618"/>
              <a:chOff x="1763686" y="1938853"/>
              <a:chExt cx="2079181" cy="1705755"/>
            </a:xfrm>
            <a:grpFill/>
          </p:grpSpPr>
          <p:sp>
            <p:nvSpPr>
              <p:cNvPr id="27" name="Rectángulo redondeado 19"/>
              <p:cNvSpPr/>
              <p:nvPr/>
            </p:nvSpPr>
            <p:spPr>
              <a:xfrm>
                <a:off x="1763686" y="1938853"/>
                <a:ext cx="2079181" cy="1705755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rgbClr val="9289C9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Forma libre 27"/>
              <p:cNvSpPr/>
              <p:nvPr/>
            </p:nvSpPr>
            <p:spPr>
              <a:xfrm>
                <a:off x="1776768" y="3478883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rgbClr val="9289C9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6" name="CuadroTexto 25"/>
            <p:cNvSpPr txBox="1"/>
            <p:nvPr/>
          </p:nvSpPr>
          <p:spPr>
            <a:xfrm>
              <a:off x="1483896" y="2374524"/>
              <a:ext cx="1554272" cy="6761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/>
              <a:r>
                <a:rPr lang="es-PE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¿Qué mejoras se han </a:t>
              </a:r>
              <a:r>
                <a:rPr lang="es-PE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orporado?</a:t>
              </a:r>
              <a:endPara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" name="Grupo 28"/>
          <p:cNvGrpSpPr/>
          <p:nvPr/>
        </p:nvGrpSpPr>
        <p:grpSpPr>
          <a:xfrm>
            <a:off x="1152167" y="1257501"/>
            <a:ext cx="6754468" cy="360000"/>
            <a:chOff x="991125" y="1257501"/>
            <a:chExt cx="5065851" cy="360000"/>
          </a:xfrm>
        </p:grpSpPr>
        <p:sp>
          <p:nvSpPr>
            <p:cNvPr id="30" name="Datos almacenados 29"/>
            <p:cNvSpPr/>
            <p:nvPr/>
          </p:nvSpPr>
          <p:spPr>
            <a:xfrm flipH="1">
              <a:off x="991125" y="1257501"/>
              <a:ext cx="442510" cy="360000"/>
            </a:xfrm>
            <a:prstGeom prst="flowChartOnlineStorag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1238250" y="1257501"/>
              <a:ext cx="4818726" cy="36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554045" y="1875513"/>
            <a:ext cx="4237280" cy="1168442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563948" y="3381275"/>
            <a:ext cx="4237280" cy="1168442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14"/>
          </p:nvPr>
        </p:nvSpPr>
        <p:spPr>
          <a:xfrm>
            <a:off x="3554045" y="4859858"/>
            <a:ext cx="4237280" cy="1168442"/>
          </a:xfrm>
        </p:spPr>
        <p:txBody>
          <a:bodyPr/>
          <a:lstStyle>
            <a:lvl1pPr marL="0" indent="363538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5"/>
          </p:nvPr>
        </p:nvSpPr>
        <p:spPr>
          <a:xfrm>
            <a:off x="1254863" y="1254066"/>
            <a:ext cx="6651772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8236134" y="1254066"/>
            <a:ext cx="3298284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sp>
        <p:nvSpPr>
          <p:cNvPr id="42" name="Content Placeholder 2"/>
          <p:cNvSpPr>
            <a:spLocks noGrp="1"/>
          </p:cNvSpPr>
          <p:nvPr>
            <p:ph idx="16"/>
          </p:nvPr>
        </p:nvSpPr>
        <p:spPr>
          <a:xfrm>
            <a:off x="8280459" y="1808745"/>
            <a:ext cx="3253959" cy="28426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17"/>
          </p:nvPr>
        </p:nvSpPr>
        <p:spPr>
          <a:xfrm>
            <a:off x="8261534" y="3949468"/>
            <a:ext cx="3272884" cy="271616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18"/>
          </p:nvPr>
        </p:nvSpPr>
        <p:spPr>
          <a:xfrm>
            <a:off x="8285648" y="2167274"/>
            <a:ext cx="3248768" cy="171872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2" name="Marcador de posición de imagen 31"/>
          <p:cNvSpPr>
            <a:spLocks noGrp="1"/>
          </p:cNvSpPr>
          <p:nvPr>
            <p:ph type="pic" sz="quarter" idx="20"/>
          </p:nvPr>
        </p:nvSpPr>
        <p:spPr>
          <a:xfrm>
            <a:off x="732367" y="1284288"/>
            <a:ext cx="419100" cy="307975"/>
          </a:xfrm>
        </p:spPr>
        <p:txBody>
          <a:bodyPr/>
          <a:lstStyle>
            <a:lvl1pPr marL="0" indent="0">
              <a:buFontTx/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PE" dirty="0"/>
          </a:p>
        </p:txBody>
      </p:sp>
      <p:sp>
        <p:nvSpPr>
          <p:cNvPr id="47" name="Title 1"/>
          <p:cNvSpPr>
            <a:spLocks noGrp="1"/>
          </p:cNvSpPr>
          <p:nvPr>
            <p:ph type="title"/>
          </p:nvPr>
        </p:nvSpPr>
        <p:spPr>
          <a:xfrm>
            <a:off x="427569" y="301215"/>
            <a:ext cx="9923577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8" name="Content Placeholder 2"/>
          <p:cNvSpPr>
            <a:spLocks noGrp="1"/>
          </p:cNvSpPr>
          <p:nvPr>
            <p:ph idx="21"/>
          </p:nvPr>
        </p:nvSpPr>
        <p:spPr>
          <a:xfrm>
            <a:off x="8285649" y="4293096"/>
            <a:ext cx="3248768" cy="1751664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9" name="Content Placeholder 2"/>
          <p:cNvSpPr>
            <a:spLocks noGrp="1"/>
          </p:cNvSpPr>
          <p:nvPr>
            <p:ph idx="22"/>
          </p:nvPr>
        </p:nvSpPr>
        <p:spPr>
          <a:xfrm>
            <a:off x="8220854" y="1254066"/>
            <a:ext cx="3298284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10815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cripcion Pil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4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69" y="301215"/>
            <a:ext cx="9923577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s-PE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cxnSp>
        <p:nvCxnSpPr>
          <p:cNvPr id="10" name="Conector recto 9"/>
          <p:cNvCxnSpPr/>
          <p:nvPr/>
        </p:nvCxnSpPr>
        <p:spPr>
          <a:xfrm>
            <a:off x="733503" y="1773660"/>
            <a:ext cx="0" cy="449651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732710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Conector recto 11"/>
          <p:cNvCxnSpPr/>
          <p:nvPr/>
        </p:nvCxnSpPr>
        <p:spPr>
          <a:xfrm>
            <a:off x="1152168" y="3936919"/>
            <a:ext cx="65287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Conector recto 12"/>
          <p:cNvCxnSpPr/>
          <p:nvPr/>
        </p:nvCxnSpPr>
        <p:spPr>
          <a:xfrm>
            <a:off x="1160116" y="6136776"/>
            <a:ext cx="65287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4" name="Grupo 13"/>
          <p:cNvGrpSpPr/>
          <p:nvPr/>
        </p:nvGrpSpPr>
        <p:grpSpPr>
          <a:xfrm>
            <a:off x="624051" y="2020130"/>
            <a:ext cx="2508463" cy="135064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15" name="Grupo 14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17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Forma libre 17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CuadroTexto 15"/>
            <p:cNvSpPr txBox="1"/>
            <p:nvPr/>
          </p:nvSpPr>
          <p:spPr>
            <a:xfrm>
              <a:off x="1482349" y="2563318"/>
              <a:ext cx="1554272" cy="5982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/>
              <a:r>
                <a:rPr lang="es-PE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¿Qué se va a responder? </a:t>
              </a:r>
              <a:endPara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624051" y="4251784"/>
            <a:ext cx="2510927" cy="1350000"/>
            <a:chOff x="1462955" y="2119343"/>
            <a:chExt cx="1656185" cy="1473512"/>
          </a:xfrm>
          <a:solidFill>
            <a:srgbClr val="CED0EA"/>
          </a:solidFill>
        </p:grpSpPr>
        <p:grpSp>
          <p:nvGrpSpPr>
            <p:cNvPr id="20" name="Grupo 19"/>
            <p:cNvGrpSpPr/>
            <p:nvPr/>
          </p:nvGrpSpPr>
          <p:grpSpPr>
            <a:xfrm>
              <a:off x="1462955" y="2119343"/>
              <a:ext cx="1656185" cy="1473512"/>
              <a:chOff x="1763686" y="1940801"/>
              <a:chExt cx="2079181" cy="1800959"/>
            </a:xfrm>
            <a:grpFill/>
          </p:grpSpPr>
          <p:sp>
            <p:nvSpPr>
              <p:cNvPr id="22" name="Rectángulo redondeado 19"/>
              <p:cNvSpPr/>
              <p:nvPr/>
            </p:nvSpPr>
            <p:spPr>
              <a:xfrm>
                <a:off x="1763686" y="1940801"/>
                <a:ext cx="2079181" cy="1800959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Forma libre 22"/>
              <p:cNvSpPr/>
              <p:nvPr/>
            </p:nvSpPr>
            <p:spPr>
              <a:xfrm>
                <a:off x="1774031" y="3565396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CuadroTexto 20"/>
            <p:cNvSpPr txBox="1"/>
            <p:nvPr/>
          </p:nvSpPr>
          <p:spPr>
            <a:xfrm>
              <a:off x="1483895" y="2449603"/>
              <a:ext cx="1554272" cy="571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/>
              <a:r>
                <a:rPr lang="es-PE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¿</a:t>
              </a:r>
              <a:r>
                <a:rPr lang="es-PE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ómo lo </a:t>
              </a:r>
              <a:r>
                <a:rPr lang="es-PE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ponderemos?</a:t>
              </a:r>
            </a:p>
          </p:txBody>
        </p:sp>
      </p:grpSp>
      <p:grpSp>
        <p:nvGrpSpPr>
          <p:cNvPr id="29" name="Grupo 28"/>
          <p:cNvGrpSpPr/>
          <p:nvPr/>
        </p:nvGrpSpPr>
        <p:grpSpPr>
          <a:xfrm>
            <a:off x="1152167" y="1257501"/>
            <a:ext cx="6754468" cy="360000"/>
            <a:chOff x="991125" y="1257501"/>
            <a:chExt cx="5065851" cy="360000"/>
          </a:xfrm>
        </p:grpSpPr>
        <p:sp>
          <p:nvSpPr>
            <p:cNvPr id="30" name="Datos almacenados 29"/>
            <p:cNvSpPr/>
            <p:nvPr/>
          </p:nvSpPr>
          <p:spPr>
            <a:xfrm flipH="1">
              <a:off x="991125" y="1257501"/>
              <a:ext cx="442510" cy="360000"/>
            </a:xfrm>
            <a:prstGeom prst="flowChartOnlineStorag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1238250" y="1257501"/>
              <a:ext cx="4818726" cy="36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554045" y="2002513"/>
            <a:ext cx="4237280" cy="165293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563948" y="4270275"/>
            <a:ext cx="4237280" cy="1652400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5"/>
          </p:nvPr>
        </p:nvSpPr>
        <p:spPr>
          <a:xfrm>
            <a:off x="1254863" y="1254066"/>
            <a:ext cx="6651772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8236134" y="1254066"/>
            <a:ext cx="3298284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sp>
        <p:nvSpPr>
          <p:cNvPr id="35" name="Content Placeholder 2"/>
          <p:cNvSpPr>
            <a:spLocks noGrp="1"/>
          </p:cNvSpPr>
          <p:nvPr>
            <p:ph idx="16"/>
          </p:nvPr>
        </p:nvSpPr>
        <p:spPr>
          <a:xfrm>
            <a:off x="8280459" y="1808745"/>
            <a:ext cx="3253959" cy="28426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7"/>
          </p:nvPr>
        </p:nvSpPr>
        <p:spPr>
          <a:xfrm>
            <a:off x="8261534" y="3949468"/>
            <a:ext cx="3272884" cy="271616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18"/>
          </p:nvPr>
        </p:nvSpPr>
        <p:spPr>
          <a:xfrm>
            <a:off x="8285648" y="2167274"/>
            <a:ext cx="3248768" cy="171872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21"/>
          </p:nvPr>
        </p:nvSpPr>
        <p:spPr>
          <a:xfrm>
            <a:off x="8285649" y="4293096"/>
            <a:ext cx="3248768" cy="1751664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Marcador de posición de imagen 31"/>
          <p:cNvSpPr>
            <a:spLocks noGrp="1"/>
          </p:cNvSpPr>
          <p:nvPr>
            <p:ph type="pic" sz="quarter" idx="20"/>
          </p:nvPr>
        </p:nvSpPr>
        <p:spPr>
          <a:xfrm>
            <a:off x="732367" y="1284288"/>
            <a:ext cx="419100" cy="307975"/>
          </a:xfrm>
        </p:spPr>
        <p:txBody>
          <a:bodyPr/>
          <a:lstStyle>
            <a:lvl1pPr marL="0" indent="0">
              <a:buFontTx/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PE" dirty="0"/>
          </a:p>
        </p:txBody>
      </p:sp>
      <p:sp>
        <p:nvSpPr>
          <p:cNvPr id="45" name="Content Placeholder 2"/>
          <p:cNvSpPr>
            <a:spLocks noGrp="1"/>
          </p:cNvSpPr>
          <p:nvPr>
            <p:ph idx="22"/>
          </p:nvPr>
        </p:nvSpPr>
        <p:spPr>
          <a:xfrm>
            <a:off x="8220854" y="1254066"/>
            <a:ext cx="3298284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17076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cti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8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/>
        </p:nvSpPr>
        <p:spPr>
          <a:xfrm>
            <a:off x="753201" y="1574800"/>
            <a:ext cx="10659867" cy="4419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69" y="297513"/>
            <a:ext cx="9923577" cy="861320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s-PE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cxnSp>
        <p:nvCxnSpPr>
          <p:cNvPr id="10" name="Conector recto 9"/>
          <p:cNvCxnSpPr/>
          <p:nvPr/>
        </p:nvCxnSpPr>
        <p:spPr>
          <a:xfrm>
            <a:off x="740569" y="1773658"/>
            <a:ext cx="0" cy="422074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732710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8" name="Content Placeholder 2"/>
          <p:cNvSpPr>
            <a:spLocks noGrp="1"/>
          </p:cNvSpPr>
          <p:nvPr>
            <p:ph idx="13"/>
          </p:nvPr>
        </p:nvSpPr>
        <p:spPr>
          <a:xfrm>
            <a:off x="3226967" y="1777361"/>
            <a:ext cx="3792000" cy="408375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14"/>
          </p:nvPr>
        </p:nvSpPr>
        <p:spPr>
          <a:xfrm>
            <a:off x="7334955" y="1777361"/>
            <a:ext cx="3792000" cy="408375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Marcador de posición de imagen 39"/>
          <p:cNvSpPr>
            <a:spLocks noGrp="1"/>
          </p:cNvSpPr>
          <p:nvPr>
            <p:ph type="pic" sz="quarter" idx="15"/>
          </p:nvPr>
        </p:nvSpPr>
        <p:spPr>
          <a:xfrm>
            <a:off x="3227916" y="2387600"/>
            <a:ext cx="3792000" cy="34290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60" name="Marcador de posición de imagen 39"/>
          <p:cNvSpPr>
            <a:spLocks noGrp="1"/>
          </p:cNvSpPr>
          <p:nvPr>
            <p:ph type="pic" sz="quarter" idx="16"/>
          </p:nvPr>
        </p:nvSpPr>
        <p:spPr>
          <a:xfrm>
            <a:off x="7327349" y="2387600"/>
            <a:ext cx="3792000" cy="34290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grpSp>
        <p:nvGrpSpPr>
          <p:cNvPr id="61" name="Grupo 60"/>
          <p:cNvGrpSpPr/>
          <p:nvPr/>
        </p:nvGrpSpPr>
        <p:grpSpPr>
          <a:xfrm>
            <a:off x="645218" y="1811353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62" name="Grupo 61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64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Forma libre 64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3" name="CuadroTexto 62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/>
              <a:endPara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6" name="Content Placeholder 2"/>
          <p:cNvSpPr>
            <a:spLocks noGrp="1"/>
          </p:cNvSpPr>
          <p:nvPr>
            <p:ph idx="1"/>
          </p:nvPr>
        </p:nvSpPr>
        <p:spPr>
          <a:xfrm>
            <a:off x="842957" y="1934674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76938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ctic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2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/>
        </p:nvSpPr>
        <p:spPr>
          <a:xfrm>
            <a:off x="753201" y="1574800"/>
            <a:ext cx="10659867" cy="4419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69" y="301215"/>
            <a:ext cx="9923577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s-PE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cxnSp>
        <p:nvCxnSpPr>
          <p:cNvPr id="10" name="Conector recto 9"/>
          <p:cNvCxnSpPr/>
          <p:nvPr/>
        </p:nvCxnSpPr>
        <p:spPr>
          <a:xfrm>
            <a:off x="741969" y="1571625"/>
            <a:ext cx="0" cy="422074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5" name="Grupo 44"/>
          <p:cNvGrpSpPr/>
          <p:nvPr/>
        </p:nvGrpSpPr>
        <p:grpSpPr>
          <a:xfrm>
            <a:off x="645218" y="1814528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47" name="Grupo 46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49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Forma libre 49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8" name="CuadroTexto 47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/>
              <a:endPara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Content Placeholder 2"/>
          <p:cNvSpPr>
            <a:spLocks noGrp="1"/>
          </p:cNvSpPr>
          <p:nvPr>
            <p:ph idx="1"/>
          </p:nvPr>
        </p:nvSpPr>
        <p:spPr>
          <a:xfrm>
            <a:off x="842957" y="1934674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58" name="Content Placeholder 2"/>
          <p:cNvSpPr>
            <a:spLocks noGrp="1"/>
          </p:cNvSpPr>
          <p:nvPr>
            <p:ph idx="13"/>
          </p:nvPr>
        </p:nvSpPr>
        <p:spPr>
          <a:xfrm>
            <a:off x="3159233" y="1680767"/>
            <a:ext cx="3801600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7"/>
          </p:nvPr>
        </p:nvSpPr>
        <p:spPr>
          <a:xfrm>
            <a:off x="7281337" y="1680767"/>
            <a:ext cx="3802663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grpSp>
        <p:nvGrpSpPr>
          <p:cNvPr id="23" name="Grupo 22"/>
          <p:cNvGrpSpPr/>
          <p:nvPr/>
        </p:nvGrpSpPr>
        <p:grpSpPr>
          <a:xfrm>
            <a:off x="645218" y="4097236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24" name="Grupo 23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26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Forma libre 26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CuadroTexto 24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/>
              <a:endParaRPr lang="es-P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Rectángulo 11"/>
          <p:cNvSpPr/>
          <p:nvPr/>
        </p:nvSpPr>
        <p:spPr>
          <a:xfrm>
            <a:off x="654965" y="3758831"/>
            <a:ext cx="11147569" cy="99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sp>
        <p:nvSpPr>
          <p:cNvPr id="30" name="Content Placeholder 2"/>
          <p:cNvSpPr>
            <a:spLocks noGrp="1"/>
          </p:cNvSpPr>
          <p:nvPr>
            <p:ph idx="19"/>
          </p:nvPr>
        </p:nvSpPr>
        <p:spPr>
          <a:xfrm>
            <a:off x="3159233" y="3916334"/>
            <a:ext cx="3801600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0"/>
          </p:nvPr>
        </p:nvSpPr>
        <p:spPr>
          <a:xfrm>
            <a:off x="7281335" y="3916334"/>
            <a:ext cx="3802664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21"/>
          </p:nvPr>
        </p:nvSpPr>
        <p:spPr>
          <a:xfrm>
            <a:off x="835895" y="4215323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16" name="Marcador de posición de imagen 15"/>
          <p:cNvSpPr>
            <a:spLocks noGrp="1"/>
          </p:cNvSpPr>
          <p:nvPr>
            <p:ph type="pic" sz="quarter" idx="22"/>
          </p:nvPr>
        </p:nvSpPr>
        <p:spPr>
          <a:xfrm>
            <a:off x="3160184" y="2120900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7" name="Marcador de posición de imagen 15"/>
          <p:cNvSpPr>
            <a:spLocks noGrp="1"/>
          </p:cNvSpPr>
          <p:nvPr>
            <p:ph type="pic" sz="quarter" idx="23"/>
          </p:nvPr>
        </p:nvSpPr>
        <p:spPr>
          <a:xfrm>
            <a:off x="7281335" y="210486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8" name="Marcador de posición de imagen 15"/>
          <p:cNvSpPr>
            <a:spLocks noGrp="1"/>
          </p:cNvSpPr>
          <p:nvPr>
            <p:ph type="pic" sz="quarter" idx="24"/>
          </p:nvPr>
        </p:nvSpPr>
        <p:spPr>
          <a:xfrm>
            <a:off x="7275840" y="433722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9" name="Marcador de posición de imagen 15"/>
          <p:cNvSpPr>
            <a:spLocks noGrp="1"/>
          </p:cNvSpPr>
          <p:nvPr>
            <p:ph type="pic" sz="quarter" idx="25"/>
          </p:nvPr>
        </p:nvSpPr>
        <p:spPr>
          <a:xfrm>
            <a:off x="3184952" y="433722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41061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" hidden="1"/>
          <p:cNvGraphicFramePr>
            <a:graphicFrameLocks noChangeAspect="1"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PE" smtClean="0"/>
              <a:t>abril de 2017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0A9ED6-016A-40BD-BC0C-A24D14D2362E}" type="slidenum">
              <a:rPr lang="en-US" smtClean="0"/>
              <a:pPr>
                <a:defRPr/>
              </a:pPr>
              <a:t>‹Nº›</a:t>
            </a:fld>
            <a:endParaRPr lang="en-US"/>
          </a:p>
        </p:txBody>
      </p:sp>
      <p:graphicFrame>
        <p:nvGraphicFramePr>
          <p:cNvPr id="9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0"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9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52966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0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PE" smtClean="0"/>
              <a:t>abril de 2017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3257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ortada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9863" y="3051881"/>
            <a:ext cx="8534400" cy="1470025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9863" y="4658246"/>
            <a:ext cx="8534400" cy="696177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8951" y="5359415"/>
            <a:ext cx="2844800" cy="365125"/>
          </a:xfrm>
        </p:spPr>
        <p:txBody>
          <a:bodyPr/>
          <a:lstStyle>
            <a:lvl1pPr>
              <a:defRPr sz="1200">
                <a:solidFill>
                  <a:srgbClr val="7F7F7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2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9284" y="5121516"/>
            <a:ext cx="1521802" cy="1293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8355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dirty="0" smtClean="0"/>
              <a:t>PO3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F276D-F836-45E4-90EB-1FBF172D466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Slide Number Placeholder 5"/>
          <p:cNvSpPr txBox="1">
            <a:spLocks/>
          </p:cNvSpPr>
          <p:nvPr/>
        </p:nvSpPr>
        <p:spPr bwMode="auto">
          <a:xfrm>
            <a:off x="8957733" y="6580201"/>
            <a:ext cx="2844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1A8B0C9-0003-4D95-B5E0-359CE90C296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srgbClr val="0BAADD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srgbClr val="0BAADD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3" name="5 Rectángulo"/>
          <p:cNvSpPr>
            <a:spLocks noChangeArrowheads="1"/>
          </p:cNvSpPr>
          <p:nvPr/>
        </p:nvSpPr>
        <p:spPr bwMode="auto">
          <a:xfrm>
            <a:off x="609606" y="4652963"/>
            <a:ext cx="5251451" cy="1655762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srgbClr val="6563C0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24" name="6 Rectángulo"/>
          <p:cNvSpPr>
            <a:spLocks noChangeArrowheads="1"/>
          </p:cNvSpPr>
          <p:nvPr/>
        </p:nvSpPr>
        <p:spPr bwMode="auto">
          <a:xfrm>
            <a:off x="6146807" y="4652963"/>
            <a:ext cx="5380567" cy="1655762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572E94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/>
              </a:rPr>
              <a:t> </a:t>
            </a:r>
          </a:p>
        </p:txBody>
      </p:sp>
      <p:sp>
        <p:nvSpPr>
          <p:cNvPr id="26" name="4 Rectángulo"/>
          <p:cNvSpPr>
            <a:spLocks noChangeArrowheads="1"/>
          </p:cNvSpPr>
          <p:nvPr/>
        </p:nvSpPr>
        <p:spPr bwMode="auto">
          <a:xfrm>
            <a:off x="609601" y="3010239"/>
            <a:ext cx="10917767" cy="1358900"/>
          </a:xfrm>
          <a:prstGeom prst="rect">
            <a:avLst/>
          </a:prstGeom>
          <a:solidFill>
            <a:schemeClr val="accent1">
              <a:lumMod val="40000"/>
              <a:lumOff val="60000"/>
              <a:alpha val="50980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6563C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/>
              </a:rPr>
              <a:t> 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9"/>
          </p:nvPr>
        </p:nvSpPr>
        <p:spPr>
          <a:xfrm>
            <a:off x="665379" y="3030800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0"/>
          </p:nvPr>
        </p:nvSpPr>
        <p:spPr>
          <a:xfrm>
            <a:off x="665379" y="4672546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Content Placeholder 2"/>
          <p:cNvSpPr>
            <a:spLocks noGrp="1"/>
          </p:cNvSpPr>
          <p:nvPr>
            <p:ph idx="21"/>
          </p:nvPr>
        </p:nvSpPr>
        <p:spPr>
          <a:xfrm>
            <a:off x="6204371" y="4674339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22"/>
          </p:nvPr>
        </p:nvSpPr>
        <p:spPr>
          <a:xfrm>
            <a:off x="665373" y="3334618"/>
            <a:ext cx="10795108" cy="948829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23"/>
          </p:nvPr>
        </p:nvSpPr>
        <p:spPr>
          <a:xfrm>
            <a:off x="665373" y="4976364"/>
            <a:ext cx="5152799" cy="125324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4 Rectángulo"/>
          <p:cNvSpPr>
            <a:spLocks noChangeArrowheads="1"/>
          </p:cNvSpPr>
          <p:nvPr/>
        </p:nvSpPr>
        <p:spPr bwMode="auto">
          <a:xfrm>
            <a:off x="609601" y="1367515"/>
            <a:ext cx="10917767" cy="1358900"/>
          </a:xfrm>
          <a:prstGeom prst="rect">
            <a:avLst/>
          </a:prstGeom>
          <a:solidFill>
            <a:schemeClr val="accent1">
              <a:lumMod val="60000"/>
              <a:lumOff val="40000"/>
              <a:alpha val="50980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6563C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/>
              </a:rPr>
              <a:t> 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4"/>
          </p:nvPr>
        </p:nvSpPr>
        <p:spPr>
          <a:xfrm>
            <a:off x="665379" y="1391590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5"/>
          </p:nvPr>
        </p:nvSpPr>
        <p:spPr>
          <a:xfrm>
            <a:off x="665373" y="1695409"/>
            <a:ext cx="10795108" cy="94882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idx="26"/>
          </p:nvPr>
        </p:nvSpPr>
        <p:spPr>
          <a:xfrm>
            <a:off x="6204370" y="4963789"/>
            <a:ext cx="5268259" cy="125324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20" name="Rectángulo 19"/>
          <p:cNvSpPr/>
          <p:nvPr userDrawn="1"/>
        </p:nvSpPr>
        <p:spPr>
          <a:xfrm>
            <a:off x="10351151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5" name="Imagen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128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ice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23422" y="1340773"/>
            <a:ext cx="7336063" cy="4971131"/>
          </a:xfrm>
        </p:spPr>
        <p:txBody>
          <a:bodyPr/>
          <a:lstStyle>
            <a:lvl1pPr marL="0" indent="363538">
              <a:lnSpc>
                <a:spcPct val="150000"/>
              </a:lnSpc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8" name="Rectángulo 7"/>
          <p:cNvSpPr/>
          <p:nvPr/>
        </p:nvSpPr>
        <p:spPr>
          <a:xfrm>
            <a:off x="10351151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631979" y="1256740"/>
            <a:ext cx="2269067" cy="1236156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s-PE" dirty="0" err="1" smtClean="0"/>
              <a:t>Indice</a:t>
            </a:r>
            <a:r>
              <a:rPr lang="es-PE" dirty="0" smtClean="0"/>
              <a:t>//Agenda</a:t>
            </a:r>
            <a:endParaRPr lang="es-PE" dirty="0"/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546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8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7"/>
          <p:cNvSpPr/>
          <p:nvPr userDrawn="1"/>
        </p:nvSpPr>
        <p:spPr>
          <a:xfrm>
            <a:off x="10351151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5" y="301215"/>
            <a:ext cx="9923577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70425" y="6604632"/>
            <a:ext cx="1921933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8484" y="6604632"/>
            <a:ext cx="3860800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604" y="6604632"/>
            <a:ext cx="521957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pic>
        <p:nvPicPr>
          <p:cNvPr id="19" name="Imagen 1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362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dirty="0" smtClean="0"/>
              <a:t>PO3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22" name="Slide Number Placeholder 5"/>
          <p:cNvSpPr txBox="1">
            <a:spLocks/>
          </p:cNvSpPr>
          <p:nvPr/>
        </p:nvSpPr>
        <p:spPr bwMode="auto">
          <a:xfrm>
            <a:off x="8957733" y="6580189"/>
            <a:ext cx="2844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F1A8B0C9-0003-4D95-B5E0-359CE90C296C}" type="slidenum">
              <a:rPr lang="en-US" altLang="es-PE" sz="1000" smtClean="0">
                <a:solidFill>
                  <a:srgbClr val="0BAADD"/>
                </a:solidFill>
                <a:latin typeface="Arial" panose="020B0604020202020204" pitchFamily="34" charset="0"/>
              </a:rPr>
              <a:pPr/>
              <a:t>‹Nº›</a:t>
            </a:fld>
            <a:endParaRPr lang="en-US" altLang="es-PE" sz="1000">
              <a:solidFill>
                <a:srgbClr val="0BAADD"/>
              </a:solidFill>
              <a:latin typeface="Arial" panose="020B0604020202020204" pitchFamily="34" charset="0"/>
            </a:endParaRPr>
          </a:p>
        </p:txBody>
      </p:sp>
      <p:sp>
        <p:nvSpPr>
          <p:cNvPr id="23" name="5 Rectángulo"/>
          <p:cNvSpPr>
            <a:spLocks noChangeArrowheads="1"/>
          </p:cNvSpPr>
          <p:nvPr/>
        </p:nvSpPr>
        <p:spPr bwMode="auto">
          <a:xfrm>
            <a:off x="609600" y="4652963"/>
            <a:ext cx="5251451" cy="1655762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>
            <a:noFill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PE" sz="1600" dirty="0">
              <a:solidFill>
                <a:srgbClr val="6563C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4" name="6 Rectángulo"/>
          <p:cNvSpPr>
            <a:spLocks noChangeArrowheads="1"/>
          </p:cNvSpPr>
          <p:nvPr/>
        </p:nvSpPr>
        <p:spPr bwMode="auto">
          <a:xfrm>
            <a:off x="6146801" y="4652963"/>
            <a:ext cx="5380567" cy="1655762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>
            <a:noFill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600" dirty="0">
                <a:solidFill>
                  <a:schemeClr val="accent2"/>
                </a:solidFill>
                <a:latin typeface="Arial"/>
                <a:ea typeface="+mn-ea"/>
                <a:cs typeface="Arial"/>
              </a:rPr>
              <a:t> </a:t>
            </a:r>
          </a:p>
        </p:txBody>
      </p:sp>
      <p:sp>
        <p:nvSpPr>
          <p:cNvPr id="26" name="4 Rectángulo"/>
          <p:cNvSpPr>
            <a:spLocks noChangeArrowheads="1"/>
          </p:cNvSpPr>
          <p:nvPr/>
        </p:nvSpPr>
        <p:spPr bwMode="auto">
          <a:xfrm>
            <a:off x="609601" y="3010239"/>
            <a:ext cx="10917767" cy="1358900"/>
          </a:xfrm>
          <a:prstGeom prst="rect">
            <a:avLst/>
          </a:prstGeom>
          <a:solidFill>
            <a:schemeClr val="accent1">
              <a:lumMod val="40000"/>
              <a:lumOff val="60000"/>
              <a:alpha val="50980"/>
            </a:schemeClr>
          </a:solidFill>
          <a:ln>
            <a:noFill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600" dirty="0">
                <a:solidFill>
                  <a:srgbClr val="6563C0"/>
                </a:solidFill>
                <a:latin typeface="Arial"/>
                <a:ea typeface="+mn-ea"/>
                <a:cs typeface="Arial"/>
              </a:rPr>
              <a:t> 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9"/>
          </p:nvPr>
        </p:nvSpPr>
        <p:spPr>
          <a:xfrm>
            <a:off x="665373" y="3030788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0"/>
          </p:nvPr>
        </p:nvSpPr>
        <p:spPr>
          <a:xfrm>
            <a:off x="665373" y="4672534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Content Placeholder 2"/>
          <p:cNvSpPr>
            <a:spLocks noGrp="1"/>
          </p:cNvSpPr>
          <p:nvPr>
            <p:ph idx="21"/>
          </p:nvPr>
        </p:nvSpPr>
        <p:spPr>
          <a:xfrm>
            <a:off x="6204365" y="4674327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22"/>
          </p:nvPr>
        </p:nvSpPr>
        <p:spPr>
          <a:xfrm>
            <a:off x="665373" y="3334618"/>
            <a:ext cx="10795108" cy="948829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23"/>
          </p:nvPr>
        </p:nvSpPr>
        <p:spPr>
          <a:xfrm>
            <a:off x="665373" y="4976364"/>
            <a:ext cx="5152799" cy="125324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4 Rectángulo"/>
          <p:cNvSpPr>
            <a:spLocks noChangeArrowheads="1"/>
          </p:cNvSpPr>
          <p:nvPr/>
        </p:nvSpPr>
        <p:spPr bwMode="auto">
          <a:xfrm>
            <a:off x="609601" y="1367515"/>
            <a:ext cx="10917767" cy="1358900"/>
          </a:xfrm>
          <a:prstGeom prst="rect">
            <a:avLst/>
          </a:prstGeom>
          <a:solidFill>
            <a:schemeClr val="accent1">
              <a:lumMod val="60000"/>
              <a:lumOff val="40000"/>
              <a:alpha val="50980"/>
            </a:schemeClr>
          </a:solidFill>
          <a:ln>
            <a:noFill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600" dirty="0">
                <a:solidFill>
                  <a:srgbClr val="6563C0"/>
                </a:solidFill>
                <a:latin typeface="Arial"/>
                <a:ea typeface="+mn-ea"/>
                <a:cs typeface="Arial"/>
              </a:rPr>
              <a:t> 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4"/>
          </p:nvPr>
        </p:nvSpPr>
        <p:spPr>
          <a:xfrm>
            <a:off x="665373" y="1391578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5"/>
          </p:nvPr>
        </p:nvSpPr>
        <p:spPr>
          <a:xfrm>
            <a:off x="665373" y="1695409"/>
            <a:ext cx="10795108" cy="94882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idx="26"/>
          </p:nvPr>
        </p:nvSpPr>
        <p:spPr>
          <a:xfrm>
            <a:off x="6204364" y="4963789"/>
            <a:ext cx="5268259" cy="125324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73705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ulo + Sub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2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ángulo 7"/>
          <p:cNvSpPr/>
          <p:nvPr/>
        </p:nvSpPr>
        <p:spPr>
          <a:xfrm>
            <a:off x="10351151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5" y="301215"/>
            <a:ext cx="9923577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70425" y="6604632"/>
            <a:ext cx="1921933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8484" y="6604632"/>
            <a:ext cx="3860800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604" y="6604632"/>
            <a:ext cx="521957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7574" y="793118"/>
            <a:ext cx="9923577" cy="576262"/>
          </a:xfrm>
        </p:spPr>
        <p:txBody>
          <a:bodyPr/>
          <a:lstStyle>
            <a:lvl1pPr marL="0" indent="0">
              <a:buFontTx/>
              <a:buNone/>
              <a:defRPr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s-PE" dirty="0" smtClean="0"/>
              <a:t>Subtítulo</a:t>
            </a:r>
            <a:endParaRPr lang="es-PE" dirty="0"/>
          </a:p>
        </p:txBody>
      </p:sp>
      <p:pic>
        <p:nvPicPr>
          <p:cNvPr id="19" name="Imagen 1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400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sumen Mensajes/Pregun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96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ángulo 7"/>
          <p:cNvSpPr/>
          <p:nvPr/>
        </p:nvSpPr>
        <p:spPr>
          <a:xfrm>
            <a:off x="10351151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BE7C8-50EE-4BFD-A2D3-3A8BB0FF1D3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ángulo redondeado 11"/>
          <p:cNvSpPr/>
          <p:nvPr/>
        </p:nvSpPr>
        <p:spPr>
          <a:xfrm>
            <a:off x="827625" y="1741065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ángulo redondeado 13"/>
          <p:cNvSpPr/>
          <p:nvPr/>
        </p:nvSpPr>
        <p:spPr>
          <a:xfrm>
            <a:off x="827625" y="2568872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ángulo redondeado 15"/>
          <p:cNvSpPr/>
          <p:nvPr/>
        </p:nvSpPr>
        <p:spPr>
          <a:xfrm>
            <a:off x="827625" y="3396678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ángulo redondeado 17"/>
          <p:cNvSpPr/>
          <p:nvPr/>
        </p:nvSpPr>
        <p:spPr>
          <a:xfrm>
            <a:off x="827625" y="4224484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ángulo redondeado 19"/>
          <p:cNvSpPr/>
          <p:nvPr/>
        </p:nvSpPr>
        <p:spPr>
          <a:xfrm>
            <a:off x="827625" y="5052291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7624" y="1741795"/>
            <a:ext cx="503767" cy="390054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29" name="Marcador de texto 13"/>
          <p:cNvSpPr>
            <a:spLocks noGrp="1"/>
          </p:cNvSpPr>
          <p:nvPr>
            <p:ph type="body" sz="quarter" idx="23" hasCustomPrompt="1"/>
          </p:nvPr>
        </p:nvSpPr>
        <p:spPr>
          <a:xfrm>
            <a:off x="827625" y="2581114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0" name="Marcador de texto 13"/>
          <p:cNvSpPr>
            <a:spLocks noGrp="1"/>
          </p:cNvSpPr>
          <p:nvPr>
            <p:ph type="body" sz="quarter" idx="24" hasCustomPrompt="1"/>
          </p:nvPr>
        </p:nvSpPr>
        <p:spPr>
          <a:xfrm>
            <a:off x="827625" y="3400522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1" name="Marcador de texto 13"/>
          <p:cNvSpPr>
            <a:spLocks noGrp="1"/>
          </p:cNvSpPr>
          <p:nvPr>
            <p:ph type="body" sz="quarter" idx="25" hasCustomPrompt="1"/>
          </p:nvPr>
        </p:nvSpPr>
        <p:spPr>
          <a:xfrm>
            <a:off x="827625" y="4230611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2" name="Marcador de texto 13"/>
          <p:cNvSpPr>
            <a:spLocks noGrp="1"/>
          </p:cNvSpPr>
          <p:nvPr>
            <p:ph type="body" sz="quarter" idx="26" hasCustomPrompt="1"/>
          </p:nvPr>
        </p:nvSpPr>
        <p:spPr>
          <a:xfrm>
            <a:off x="827625" y="5064533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427575" y="301214"/>
            <a:ext cx="9923577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dirty="0" smtClean="0"/>
              <a:t>Mensajes/Preguntas</a:t>
            </a:r>
            <a:endParaRPr lang="en-US" dirty="0"/>
          </a:p>
        </p:txBody>
      </p:sp>
      <p:sp>
        <p:nvSpPr>
          <p:cNvPr id="40" name="Content Placeholder 2"/>
          <p:cNvSpPr>
            <a:spLocks noGrp="1"/>
          </p:cNvSpPr>
          <p:nvPr>
            <p:ph idx="1"/>
          </p:nvPr>
        </p:nvSpPr>
        <p:spPr>
          <a:xfrm>
            <a:off x="1487490" y="1697315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32"/>
          </p:nvPr>
        </p:nvSpPr>
        <p:spPr>
          <a:xfrm>
            <a:off x="1487494" y="2528020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33"/>
          </p:nvPr>
        </p:nvSpPr>
        <p:spPr>
          <a:xfrm>
            <a:off x="1487490" y="3358725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34"/>
          </p:nvPr>
        </p:nvSpPr>
        <p:spPr>
          <a:xfrm>
            <a:off x="1487494" y="4173888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35"/>
          </p:nvPr>
        </p:nvSpPr>
        <p:spPr>
          <a:xfrm>
            <a:off x="1487490" y="5004593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pic>
        <p:nvPicPr>
          <p:cNvPr id="33" name="Imagen 3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639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nsajes/Pregun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20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441" y="301214"/>
            <a:ext cx="9343711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BE7C8-50EE-4BFD-A2D3-3A8BB0FF1D3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6"/>
          <p:cNvSpPr/>
          <p:nvPr/>
        </p:nvSpPr>
        <p:spPr>
          <a:xfrm>
            <a:off x="395007" y="374650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406641" y="386892"/>
            <a:ext cx="480484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655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con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44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20" y="301214"/>
            <a:ext cx="9535732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5420" y="1484784"/>
            <a:ext cx="10987121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BE7C8-50EE-4BFD-A2D3-3A8BB0FF1D3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13" hasCustomPrompt="1"/>
          </p:nvPr>
        </p:nvSpPr>
        <p:spPr>
          <a:xfrm>
            <a:off x="171085" y="111125"/>
            <a:ext cx="442003" cy="6386494"/>
          </a:xfrm>
          <a:solidFill>
            <a:schemeClr val="accent1"/>
          </a:solidFill>
        </p:spPr>
        <p:txBody>
          <a:bodyPr vert="horz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  <a:lvl4pPr marL="1371600" indent="0" algn="ctr">
              <a:buFontTx/>
              <a:buNone/>
              <a:defRPr/>
            </a:lvl4pPr>
            <a:lvl5pPr marL="1828800" indent="0" algn="ctr">
              <a:buFontTx/>
              <a:buNone/>
              <a:defRPr/>
            </a:lvl5pPr>
          </a:lstStyle>
          <a:p>
            <a:pPr lvl="0"/>
            <a:r>
              <a:rPr lang="es-PE" dirty="0" smtClean="0"/>
              <a:t>CATEGORIA</a:t>
            </a:r>
            <a:endParaRPr lang="es-PE" dirty="0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365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8297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9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351145" y="111125"/>
            <a:ext cx="164341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37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cripcion Pil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2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733503" y="1773660"/>
            <a:ext cx="0" cy="449651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732716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Conector recto 11"/>
          <p:cNvCxnSpPr/>
          <p:nvPr/>
        </p:nvCxnSpPr>
        <p:spPr>
          <a:xfrm>
            <a:off x="1152174" y="3200113"/>
            <a:ext cx="65287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Conector recto 12"/>
          <p:cNvCxnSpPr/>
          <p:nvPr/>
        </p:nvCxnSpPr>
        <p:spPr>
          <a:xfrm>
            <a:off x="1152174" y="4705876"/>
            <a:ext cx="65287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4" name="Grupo 13"/>
          <p:cNvGrpSpPr/>
          <p:nvPr/>
        </p:nvGrpSpPr>
        <p:grpSpPr>
          <a:xfrm>
            <a:off x="624049" y="1893130"/>
            <a:ext cx="2640000" cy="1080000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15" name="Grupo 14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17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Forma libre 17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CuadroTexto 15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Qué se va a responder? </a:t>
              </a: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624049" y="3362784"/>
            <a:ext cx="2640000" cy="1080000"/>
            <a:chOff x="1462955" y="2119343"/>
            <a:chExt cx="1656185" cy="1473512"/>
          </a:xfrm>
          <a:solidFill>
            <a:srgbClr val="CED0EA"/>
          </a:solidFill>
        </p:grpSpPr>
        <p:grpSp>
          <p:nvGrpSpPr>
            <p:cNvPr id="20" name="Grupo 19"/>
            <p:cNvGrpSpPr/>
            <p:nvPr/>
          </p:nvGrpSpPr>
          <p:grpSpPr>
            <a:xfrm>
              <a:off x="1462955" y="2119343"/>
              <a:ext cx="1656185" cy="1473512"/>
              <a:chOff x="1763686" y="1940801"/>
              <a:chExt cx="2079181" cy="1800959"/>
            </a:xfrm>
            <a:grpFill/>
          </p:grpSpPr>
          <p:sp>
            <p:nvSpPr>
              <p:cNvPr id="22" name="Rectángulo redondeado 19"/>
              <p:cNvSpPr/>
              <p:nvPr/>
            </p:nvSpPr>
            <p:spPr>
              <a:xfrm>
                <a:off x="1763686" y="1940801"/>
                <a:ext cx="2079181" cy="1800959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Forma libre 22"/>
              <p:cNvSpPr/>
              <p:nvPr/>
            </p:nvSpPr>
            <p:spPr>
              <a:xfrm>
                <a:off x="1774031" y="3565396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CuadroTexto 20"/>
            <p:cNvSpPr txBox="1"/>
            <p:nvPr/>
          </p:nvSpPr>
          <p:spPr>
            <a:xfrm>
              <a:off x="1483895" y="2378216"/>
              <a:ext cx="1554272" cy="7138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</a:t>
              </a:r>
              <a:r>
                <a:rPr kumimoji="0" lang="es-PE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Cómo lo </a:t>
              </a: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responderemos?</a:t>
              </a:r>
            </a:p>
          </p:txBody>
        </p:sp>
      </p:grpSp>
      <p:grpSp>
        <p:nvGrpSpPr>
          <p:cNvPr id="24" name="Grupo 23"/>
          <p:cNvGrpSpPr/>
          <p:nvPr/>
        </p:nvGrpSpPr>
        <p:grpSpPr>
          <a:xfrm>
            <a:off x="621023" y="4839939"/>
            <a:ext cx="2640000" cy="1080000"/>
            <a:chOff x="1462955" y="2117750"/>
            <a:chExt cx="1656185" cy="1395618"/>
          </a:xfrm>
          <a:solidFill>
            <a:srgbClr val="BFB7E3"/>
          </a:solidFill>
        </p:grpSpPr>
        <p:grpSp>
          <p:nvGrpSpPr>
            <p:cNvPr id="25" name="Grupo 24"/>
            <p:cNvGrpSpPr/>
            <p:nvPr/>
          </p:nvGrpSpPr>
          <p:grpSpPr>
            <a:xfrm>
              <a:off x="1462955" y="2117750"/>
              <a:ext cx="1656185" cy="1395618"/>
              <a:chOff x="1763686" y="1938853"/>
              <a:chExt cx="2079181" cy="1705755"/>
            </a:xfrm>
            <a:grpFill/>
          </p:grpSpPr>
          <p:sp>
            <p:nvSpPr>
              <p:cNvPr id="27" name="Rectángulo redondeado 19"/>
              <p:cNvSpPr/>
              <p:nvPr/>
            </p:nvSpPr>
            <p:spPr>
              <a:xfrm>
                <a:off x="1763686" y="1938853"/>
                <a:ext cx="2079181" cy="1705755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rgbClr val="9289C9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" name="Forma libre 27"/>
              <p:cNvSpPr/>
              <p:nvPr/>
            </p:nvSpPr>
            <p:spPr>
              <a:xfrm>
                <a:off x="1776768" y="3478883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rgbClr val="9289C9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6" name="CuadroTexto 25"/>
            <p:cNvSpPr txBox="1"/>
            <p:nvPr/>
          </p:nvSpPr>
          <p:spPr>
            <a:xfrm>
              <a:off x="1483896" y="2374524"/>
              <a:ext cx="1554272" cy="6761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Qué mejoras se han </a:t>
              </a:r>
              <a:r>
                <a:rPr kumimoji="0" lang="es-PE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incorporado?</a:t>
              </a: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grpSp>
        <p:nvGrpSpPr>
          <p:cNvPr id="29" name="Grupo 28"/>
          <p:cNvGrpSpPr/>
          <p:nvPr/>
        </p:nvGrpSpPr>
        <p:grpSpPr>
          <a:xfrm>
            <a:off x="1152173" y="1257501"/>
            <a:ext cx="6754468" cy="360000"/>
            <a:chOff x="991125" y="1257501"/>
            <a:chExt cx="5065851" cy="360000"/>
          </a:xfrm>
        </p:grpSpPr>
        <p:sp>
          <p:nvSpPr>
            <p:cNvPr id="30" name="Datos almacenados 29"/>
            <p:cNvSpPr/>
            <p:nvPr/>
          </p:nvSpPr>
          <p:spPr>
            <a:xfrm flipH="1">
              <a:off x="991125" y="1257501"/>
              <a:ext cx="442510" cy="360000"/>
            </a:xfrm>
            <a:prstGeom prst="flowChartOnlineStorag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1238250" y="1257501"/>
              <a:ext cx="4818726" cy="36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554045" y="1875513"/>
            <a:ext cx="4237280" cy="1168442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563948" y="3381275"/>
            <a:ext cx="4237280" cy="1168442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14"/>
          </p:nvPr>
        </p:nvSpPr>
        <p:spPr>
          <a:xfrm>
            <a:off x="3554045" y="4859858"/>
            <a:ext cx="4237280" cy="1168442"/>
          </a:xfrm>
        </p:spPr>
        <p:txBody>
          <a:bodyPr/>
          <a:lstStyle>
            <a:lvl1pPr marL="0" indent="363538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5"/>
          </p:nvPr>
        </p:nvSpPr>
        <p:spPr>
          <a:xfrm>
            <a:off x="1254863" y="1254066"/>
            <a:ext cx="6651772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8236140" y="1254066"/>
            <a:ext cx="3298284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Content Placeholder 2"/>
          <p:cNvSpPr>
            <a:spLocks noGrp="1"/>
          </p:cNvSpPr>
          <p:nvPr>
            <p:ph idx="16"/>
          </p:nvPr>
        </p:nvSpPr>
        <p:spPr>
          <a:xfrm>
            <a:off x="8280465" y="1808748"/>
            <a:ext cx="3253959" cy="28426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17"/>
          </p:nvPr>
        </p:nvSpPr>
        <p:spPr>
          <a:xfrm>
            <a:off x="8261534" y="3949468"/>
            <a:ext cx="3272884" cy="271616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18"/>
          </p:nvPr>
        </p:nvSpPr>
        <p:spPr>
          <a:xfrm>
            <a:off x="8285654" y="2167274"/>
            <a:ext cx="3248768" cy="171872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2" name="Marcador de posición de imagen 31"/>
          <p:cNvSpPr>
            <a:spLocks noGrp="1"/>
          </p:cNvSpPr>
          <p:nvPr>
            <p:ph type="pic" sz="quarter" idx="20"/>
          </p:nvPr>
        </p:nvSpPr>
        <p:spPr>
          <a:xfrm>
            <a:off x="732373" y="1284300"/>
            <a:ext cx="419100" cy="307975"/>
          </a:xfrm>
        </p:spPr>
        <p:txBody>
          <a:bodyPr/>
          <a:lstStyle>
            <a:lvl1pPr marL="0" indent="0">
              <a:buFontTx/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PE" dirty="0"/>
          </a:p>
        </p:txBody>
      </p:sp>
      <p:sp>
        <p:nvSpPr>
          <p:cNvPr id="47" name="Title 1"/>
          <p:cNvSpPr>
            <a:spLocks noGrp="1"/>
          </p:cNvSpPr>
          <p:nvPr>
            <p:ph type="title"/>
          </p:nvPr>
        </p:nvSpPr>
        <p:spPr>
          <a:xfrm>
            <a:off x="427575" y="301215"/>
            <a:ext cx="9923577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8" name="Content Placeholder 2"/>
          <p:cNvSpPr>
            <a:spLocks noGrp="1"/>
          </p:cNvSpPr>
          <p:nvPr>
            <p:ph idx="21"/>
          </p:nvPr>
        </p:nvSpPr>
        <p:spPr>
          <a:xfrm>
            <a:off x="8285655" y="4293096"/>
            <a:ext cx="3248768" cy="1751664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9" name="Content Placeholder 2"/>
          <p:cNvSpPr>
            <a:spLocks noGrp="1"/>
          </p:cNvSpPr>
          <p:nvPr>
            <p:ph idx="22"/>
          </p:nvPr>
        </p:nvSpPr>
        <p:spPr>
          <a:xfrm>
            <a:off x="8220860" y="1254066"/>
            <a:ext cx="3298284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pic>
        <p:nvPicPr>
          <p:cNvPr id="50" name="Imagen 4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235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cripcion Pil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6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5" y="301215"/>
            <a:ext cx="9923577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733503" y="1773660"/>
            <a:ext cx="0" cy="449651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732716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Conector recto 11"/>
          <p:cNvCxnSpPr/>
          <p:nvPr/>
        </p:nvCxnSpPr>
        <p:spPr>
          <a:xfrm>
            <a:off x="1152174" y="3936919"/>
            <a:ext cx="65287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Conector recto 12"/>
          <p:cNvCxnSpPr/>
          <p:nvPr/>
        </p:nvCxnSpPr>
        <p:spPr>
          <a:xfrm>
            <a:off x="1160122" y="6136776"/>
            <a:ext cx="65287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4" name="Grupo 13"/>
          <p:cNvGrpSpPr/>
          <p:nvPr/>
        </p:nvGrpSpPr>
        <p:grpSpPr>
          <a:xfrm>
            <a:off x="624057" y="2020130"/>
            <a:ext cx="2508463" cy="135064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15" name="Grupo 14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17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Forma libre 17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CuadroTexto 15"/>
            <p:cNvSpPr txBox="1"/>
            <p:nvPr/>
          </p:nvSpPr>
          <p:spPr>
            <a:xfrm>
              <a:off x="1482349" y="2563318"/>
              <a:ext cx="1554272" cy="5982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Qué se va a responder? </a:t>
              </a: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624051" y="4251784"/>
            <a:ext cx="2510927" cy="1350000"/>
            <a:chOff x="1462955" y="2119343"/>
            <a:chExt cx="1656185" cy="1473512"/>
          </a:xfrm>
          <a:solidFill>
            <a:srgbClr val="CED0EA"/>
          </a:solidFill>
        </p:grpSpPr>
        <p:grpSp>
          <p:nvGrpSpPr>
            <p:cNvPr id="20" name="Grupo 19"/>
            <p:cNvGrpSpPr/>
            <p:nvPr/>
          </p:nvGrpSpPr>
          <p:grpSpPr>
            <a:xfrm>
              <a:off x="1462955" y="2119343"/>
              <a:ext cx="1656185" cy="1473512"/>
              <a:chOff x="1763686" y="1940801"/>
              <a:chExt cx="2079181" cy="1800959"/>
            </a:xfrm>
            <a:grpFill/>
          </p:grpSpPr>
          <p:sp>
            <p:nvSpPr>
              <p:cNvPr id="22" name="Rectángulo redondeado 19"/>
              <p:cNvSpPr/>
              <p:nvPr/>
            </p:nvSpPr>
            <p:spPr>
              <a:xfrm>
                <a:off x="1763686" y="1940801"/>
                <a:ext cx="2079181" cy="1800959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Forma libre 22"/>
              <p:cNvSpPr/>
              <p:nvPr/>
            </p:nvSpPr>
            <p:spPr>
              <a:xfrm>
                <a:off x="1774031" y="3565396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CuadroTexto 20"/>
            <p:cNvSpPr txBox="1"/>
            <p:nvPr/>
          </p:nvSpPr>
          <p:spPr>
            <a:xfrm>
              <a:off x="1483895" y="2449603"/>
              <a:ext cx="1554272" cy="571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</a:t>
              </a:r>
              <a:r>
                <a:rPr kumimoji="0" lang="es-PE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Cómo lo </a:t>
              </a: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responderemos?</a:t>
              </a:r>
            </a:p>
          </p:txBody>
        </p:sp>
      </p:grpSp>
      <p:grpSp>
        <p:nvGrpSpPr>
          <p:cNvPr id="29" name="Grupo 28"/>
          <p:cNvGrpSpPr/>
          <p:nvPr/>
        </p:nvGrpSpPr>
        <p:grpSpPr>
          <a:xfrm>
            <a:off x="1152173" y="1257501"/>
            <a:ext cx="6754468" cy="360000"/>
            <a:chOff x="991125" y="1257501"/>
            <a:chExt cx="5065851" cy="360000"/>
          </a:xfrm>
        </p:grpSpPr>
        <p:sp>
          <p:nvSpPr>
            <p:cNvPr id="30" name="Datos almacenados 29"/>
            <p:cNvSpPr/>
            <p:nvPr/>
          </p:nvSpPr>
          <p:spPr>
            <a:xfrm flipH="1">
              <a:off x="991125" y="1257501"/>
              <a:ext cx="442510" cy="360000"/>
            </a:xfrm>
            <a:prstGeom prst="flowChartOnlineStorag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1238250" y="1257501"/>
              <a:ext cx="4818726" cy="36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554045" y="2002513"/>
            <a:ext cx="4237280" cy="165293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563948" y="4270275"/>
            <a:ext cx="4237280" cy="1652400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5"/>
          </p:nvPr>
        </p:nvSpPr>
        <p:spPr>
          <a:xfrm>
            <a:off x="1254863" y="1254066"/>
            <a:ext cx="6651772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8236140" y="1254066"/>
            <a:ext cx="3298284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Content Placeholder 2"/>
          <p:cNvSpPr>
            <a:spLocks noGrp="1"/>
          </p:cNvSpPr>
          <p:nvPr>
            <p:ph idx="16"/>
          </p:nvPr>
        </p:nvSpPr>
        <p:spPr>
          <a:xfrm>
            <a:off x="8280465" y="1808748"/>
            <a:ext cx="3253959" cy="28426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7"/>
          </p:nvPr>
        </p:nvSpPr>
        <p:spPr>
          <a:xfrm>
            <a:off x="8261534" y="3949468"/>
            <a:ext cx="3272884" cy="271616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18"/>
          </p:nvPr>
        </p:nvSpPr>
        <p:spPr>
          <a:xfrm>
            <a:off x="8285654" y="2167274"/>
            <a:ext cx="3248768" cy="171872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21"/>
          </p:nvPr>
        </p:nvSpPr>
        <p:spPr>
          <a:xfrm>
            <a:off x="8285655" y="4293096"/>
            <a:ext cx="3248768" cy="1751664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Marcador de posición de imagen 31"/>
          <p:cNvSpPr>
            <a:spLocks noGrp="1"/>
          </p:cNvSpPr>
          <p:nvPr>
            <p:ph type="pic" sz="quarter" idx="20"/>
          </p:nvPr>
        </p:nvSpPr>
        <p:spPr>
          <a:xfrm>
            <a:off x="732373" y="1284300"/>
            <a:ext cx="419100" cy="307975"/>
          </a:xfrm>
        </p:spPr>
        <p:txBody>
          <a:bodyPr/>
          <a:lstStyle>
            <a:lvl1pPr marL="0" indent="0">
              <a:buFontTx/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PE" dirty="0"/>
          </a:p>
        </p:txBody>
      </p:sp>
      <p:sp>
        <p:nvSpPr>
          <p:cNvPr id="45" name="Content Placeholder 2"/>
          <p:cNvSpPr>
            <a:spLocks noGrp="1"/>
          </p:cNvSpPr>
          <p:nvPr>
            <p:ph idx="22"/>
          </p:nvPr>
        </p:nvSpPr>
        <p:spPr>
          <a:xfrm>
            <a:off x="8220860" y="1254066"/>
            <a:ext cx="3298284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1" name="Rectángulo 40"/>
          <p:cNvSpPr/>
          <p:nvPr userDrawn="1"/>
        </p:nvSpPr>
        <p:spPr>
          <a:xfrm>
            <a:off x="10351145" y="111125"/>
            <a:ext cx="164341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6" name="Imagen 4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979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cti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0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/>
        </p:nvSpPr>
        <p:spPr>
          <a:xfrm>
            <a:off x="753207" y="1574800"/>
            <a:ext cx="10659867" cy="4419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5" y="297513"/>
            <a:ext cx="9923577" cy="861320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740569" y="1773658"/>
            <a:ext cx="0" cy="422074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732716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8" name="Content Placeholder 2"/>
          <p:cNvSpPr>
            <a:spLocks noGrp="1"/>
          </p:cNvSpPr>
          <p:nvPr>
            <p:ph idx="13"/>
          </p:nvPr>
        </p:nvSpPr>
        <p:spPr>
          <a:xfrm>
            <a:off x="3226967" y="1777361"/>
            <a:ext cx="3792000" cy="408375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14"/>
          </p:nvPr>
        </p:nvSpPr>
        <p:spPr>
          <a:xfrm>
            <a:off x="7334955" y="1777361"/>
            <a:ext cx="3792000" cy="408375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Marcador de posición de imagen 39"/>
          <p:cNvSpPr>
            <a:spLocks noGrp="1"/>
          </p:cNvSpPr>
          <p:nvPr>
            <p:ph type="pic" sz="quarter" idx="15"/>
          </p:nvPr>
        </p:nvSpPr>
        <p:spPr>
          <a:xfrm>
            <a:off x="3227916" y="2387600"/>
            <a:ext cx="3792000" cy="34290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60" name="Marcador de posición de imagen 39"/>
          <p:cNvSpPr>
            <a:spLocks noGrp="1"/>
          </p:cNvSpPr>
          <p:nvPr>
            <p:ph type="pic" sz="quarter" idx="16"/>
          </p:nvPr>
        </p:nvSpPr>
        <p:spPr>
          <a:xfrm>
            <a:off x="7327349" y="2387600"/>
            <a:ext cx="3792000" cy="34290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grpSp>
        <p:nvGrpSpPr>
          <p:cNvPr id="61" name="Grupo 60"/>
          <p:cNvGrpSpPr/>
          <p:nvPr/>
        </p:nvGrpSpPr>
        <p:grpSpPr>
          <a:xfrm>
            <a:off x="645224" y="1811353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62" name="Grupo 61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64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Forma libre 64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3" name="CuadroTexto 62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66" name="Content Placeholder 2"/>
          <p:cNvSpPr>
            <a:spLocks noGrp="1"/>
          </p:cNvSpPr>
          <p:nvPr>
            <p:ph idx="1"/>
          </p:nvPr>
        </p:nvSpPr>
        <p:spPr>
          <a:xfrm>
            <a:off x="842957" y="1934686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24" name="Rectángulo 23"/>
          <p:cNvSpPr/>
          <p:nvPr userDrawn="1"/>
        </p:nvSpPr>
        <p:spPr>
          <a:xfrm>
            <a:off x="10351145" y="111125"/>
            <a:ext cx="164341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Imagen 2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301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ctic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4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/>
        </p:nvSpPr>
        <p:spPr>
          <a:xfrm>
            <a:off x="753207" y="1574800"/>
            <a:ext cx="10659867" cy="4419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5" y="301215"/>
            <a:ext cx="9923577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741969" y="1571625"/>
            <a:ext cx="0" cy="422074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5" name="Grupo 44"/>
          <p:cNvGrpSpPr/>
          <p:nvPr/>
        </p:nvGrpSpPr>
        <p:grpSpPr>
          <a:xfrm>
            <a:off x="645224" y="1814528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47" name="Grupo 46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49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orma libre 49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8" name="CuadroTexto 47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57" name="Content Placeholder 2"/>
          <p:cNvSpPr>
            <a:spLocks noGrp="1"/>
          </p:cNvSpPr>
          <p:nvPr>
            <p:ph idx="1"/>
          </p:nvPr>
        </p:nvSpPr>
        <p:spPr>
          <a:xfrm>
            <a:off x="842957" y="1934686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58" name="Content Placeholder 2"/>
          <p:cNvSpPr>
            <a:spLocks noGrp="1"/>
          </p:cNvSpPr>
          <p:nvPr>
            <p:ph idx="13"/>
          </p:nvPr>
        </p:nvSpPr>
        <p:spPr>
          <a:xfrm>
            <a:off x="3159239" y="1680767"/>
            <a:ext cx="3801600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7"/>
          </p:nvPr>
        </p:nvSpPr>
        <p:spPr>
          <a:xfrm>
            <a:off x="7281343" y="1680767"/>
            <a:ext cx="3802663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grpSp>
        <p:nvGrpSpPr>
          <p:cNvPr id="23" name="Grupo 22"/>
          <p:cNvGrpSpPr/>
          <p:nvPr/>
        </p:nvGrpSpPr>
        <p:grpSpPr>
          <a:xfrm>
            <a:off x="645224" y="4097236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24" name="Grupo 23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26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" name="Forma libre 26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CuadroTexto 24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12" name="Rectángulo 11"/>
          <p:cNvSpPr/>
          <p:nvPr/>
        </p:nvSpPr>
        <p:spPr>
          <a:xfrm>
            <a:off x="654965" y="3758831"/>
            <a:ext cx="11147569" cy="99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Content Placeholder 2"/>
          <p:cNvSpPr>
            <a:spLocks noGrp="1"/>
          </p:cNvSpPr>
          <p:nvPr>
            <p:ph idx="19"/>
          </p:nvPr>
        </p:nvSpPr>
        <p:spPr>
          <a:xfrm>
            <a:off x="3159239" y="3916334"/>
            <a:ext cx="3801600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0"/>
          </p:nvPr>
        </p:nvSpPr>
        <p:spPr>
          <a:xfrm>
            <a:off x="7281335" y="3916334"/>
            <a:ext cx="3802664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21"/>
          </p:nvPr>
        </p:nvSpPr>
        <p:spPr>
          <a:xfrm>
            <a:off x="835895" y="4215335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16" name="Marcador de posición de imagen 15"/>
          <p:cNvSpPr>
            <a:spLocks noGrp="1"/>
          </p:cNvSpPr>
          <p:nvPr>
            <p:ph type="pic" sz="quarter" idx="22"/>
          </p:nvPr>
        </p:nvSpPr>
        <p:spPr>
          <a:xfrm>
            <a:off x="3160184" y="2120900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7" name="Marcador de posición de imagen 15"/>
          <p:cNvSpPr>
            <a:spLocks noGrp="1"/>
          </p:cNvSpPr>
          <p:nvPr>
            <p:ph type="pic" sz="quarter" idx="23"/>
          </p:nvPr>
        </p:nvSpPr>
        <p:spPr>
          <a:xfrm>
            <a:off x="7281341" y="210486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8" name="Marcador de posición de imagen 15"/>
          <p:cNvSpPr>
            <a:spLocks noGrp="1"/>
          </p:cNvSpPr>
          <p:nvPr>
            <p:ph type="pic" sz="quarter" idx="24"/>
          </p:nvPr>
        </p:nvSpPr>
        <p:spPr>
          <a:xfrm>
            <a:off x="7275846" y="433722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9" name="Marcador de posición de imagen 15"/>
          <p:cNvSpPr>
            <a:spLocks noGrp="1"/>
          </p:cNvSpPr>
          <p:nvPr>
            <p:ph type="pic" sz="quarter" idx="25"/>
          </p:nvPr>
        </p:nvSpPr>
        <p:spPr>
          <a:xfrm>
            <a:off x="3184952" y="433722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2" name="Rectángulo 31"/>
          <p:cNvSpPr/>
          <p:nvPr userDrawn="1"/>
        </p:nvSpPr>
        <p:spPr>
          <a:xfrm>
            <a:off x="10351145" y="111125"/>
            <a:ext cx="164341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6" name="Imagen 3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201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>
              <a:defRPr sz="1800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196643-6341-45A9-9615-0895CD1F9682}" type="slidenum">
              <a:rPr kumimoji="0" 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6"/>
          <p:cNvSpPr/>
          <p:nvPr userDrawn="1"/>
        </p:nvSpPr>
        <p:spPr>
          <a:xfrm>
            <a:off x="10351145" y="111125"/>
            <a:ext cx="164341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565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ice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s-PE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23422" y="1340769"/>
            <a:ext cx="7336063" cy="4971131"/>
          </a:xfrm>
        </p:spPr>
        <p:txBody>
          <a:bodyPr/>
          <a:lstStyle>
            <a:lvl1pPr marL="0" indent="363538">
              <a:lnSpc>
                <a:spcPct val="150000"/>
              </a:lnSpc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8" name="Rectángulo 7"/>
          <p:cNvSpPr/>
          <p:nvPr/>
        </p:nvSpPr>
        <p:spPr>
          <a:xfrm>
            <a:off x="10351145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11" name="Marcador de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631979" y="1256740"/>
            <a:ext cx="2269067" cy="1236156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s-PE" dirty="0" err="1" smtClean="0"/>
              <a:t>Indice</a:t>
            </a:r>
            <a:r>
              <a:rPr lang="es-PE" dirty="0" smtClean="0"/>
              <a:t>//Agenda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86053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O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dirty="0" smtClean="0"/>
              <a:t>PO3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F276D-F836-45E4-90EB-1FBF172D466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Slide Number Placeholder 5"/>
          <p:cNvSpPr txBox="1">
            <a:spLocks/>
          </p:cNvSpPr>
          <p:nvPr/>
        </p:nvSpPr>
        <p:spPr bwMode="auto">
          <a:xfrm>
            <a:off x="8957733" y="6580214"/>
            <a:ext cx="2844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1A8B0C9-0003-4D95-B5E0-359CE90C296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srgbClr val="0BAADD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srgbClr val="0BAADD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3" name="5 Rectángulo"/>
          <p:cNvSpPr>
            <a:spLocks noChangeArrowheads="1"/>
          </p:cNvSpPr>
          <p:nvPr/>
        </p:nvSpPr>
        <p:spPr bwMode="auto">
          <a:xfrm>
            <a:off x="609613" y="4652963"/>
            <a:ext cx="5251451" cy="1655762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srgbClr val="6563C0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24" name="6 Rectángulo"/>
          <p:cNvSpPr>
            <a:spLocks noChangeArrowheads="1"/>
          </p:cNvSpPr>
          <p:nvPr/>
        </p:nvSpPr>
        <p:spPr bwMode="auto">
          <a:xfrm>
            <a:off x="6146802" y="4652963"/>
            <a:ext cx="5380566" cy="1655762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572E94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/>
              </a:rPr>
              <a:t> </a:t>
            </a:r>
          </a:p>
        </p:txBody>
      </p:sp>
      <p:sp>
        <p:nvSpPr>
          <p:cNvPr id="26" name="4 Rectángulo"/>
          <p:cNvSpPr>
            <a:spLocks noChangeArrowheads="1"/>
          </p:cNvSpPr>
          <p:nvPr/>
        </p:nvSpPr>
        <p:spPr bwMode="auto">
          <a:xfrm>
            <a:off x="609601" y="3010239"/>
            <a:ext cx="10917767" cy="1358900"/>
          </a:xfrm>
          <a:prstGeom prst="rect">
            <a:avLst/>
          </a:prstGeom>
          <a:solidFill>
            <a:schemeClr val="accent1">
              <a:lumMod val="40000"/>
              <a:lumOff val="60000"/>
              <a:alpha val="50980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6563C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/>
              </a:rPr>
              <a:t> 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9"/>
          </p:nvPr>
        </p:nvSpPr>
        <p:spPr>
          <a:xfrm>
            <a:off x="665385" y="3030813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0"/>
          </p:nvPr>
        </p:nvSpPr>
        <p:spPr>
          <a:xfrm>
            <a:off x="665385" y="4672559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Content Placeholder 2"/>
          <p:cNvSpPr>
            <a:spLocks noGrp="1"/>
          </p:cNvSpPr>
          <p:nvPr>
            <p:ph idx="21"/>
          </p:nvPr>
        </p:nvSpPr>
        <p:spPr>
          <a:xfrm>
            <a:off x="6204377" y="4674352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22"/>
          </p:nvPr>
        </p:nvSpPr>
        <p:spPr>
          <a:xfrm>
            <a:off x="665376" y="3334618"/>
            <a:ext cx="10795108" cy="948829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23"/>
          </p:nvPr>
        </p:nvSpPr>
        <p:spPr>
          <a:xfrm>
            <a:off x="665373" y="4976364"/>
            <a:ext cx="5152799" cy="125324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4 Rectángulo"/>
          <p:cNvSpPr>
            <a:spLocks noChangeArrowheads="1"/>
          </p:cNvSpPr>
          <p:nvPr/>
        </p:nvSpPr>
        <p:spPr bwMode="auto">
          <a:xfrm>
            <a:off x="609601" y="1367515"/>
            <a:ext cx="10917767" cy="1358900"/>
          </a:xfrm>
          <a:prstGeom prst="rect">
            <a:avLst/>
          </a:prstGeom>
          <a:solidFill>
            <a:schemeClr val="accent1">
              <a:lumMod val="60000"/>
              <a:lumOff val="40000"/>
              <a:alpha val="50980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6563C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/>
              </a:rPr>
              <a:t> 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4"/>
          </p:nvPr>
        </p:nvSpPr>
        <p:spPr>
          <a:xfrm>
            <a:off x="665385" y="1391603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5"/>
          </p:nvPr>
        </p:nvSpPr>
        <p:spPr>
          <a:xfrm>
            <a:off x="665376" y="1695409"/>
            <a:ext cx="10795108" cy="94882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idx="26"/>
          </p:nvPr>
        </p:nvSpPr>
        <p:spPr>
          <a:xfrm>
            <a:off x="6204376" y="4963789"/>
            <a:ext cx="5268259" cy="125324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21" name="Rectángulo 20"/>
          <p:cNvSpPr/>
          <p:nvPr userDrawn="1"/>
        </p:nvSpPr>
        <p:spPr>
          <a:xfrm>
            <a:off x="10423714" y="111125"/>
            <a:ext cx="1643417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" name="Imagen 1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712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dice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23424" y="1340773"/>
            <a:ext cx="7336063" cy="4971131"/>
          </a:xfrm>
        </p:spPr>
        <p:txBody>
          <a:bodyPr/>
          <a:lstStyle>
            <a:lvl1pPr marL="0" indent="363538">
              <a:lnSpc>
                <a:spcPct val="150000"/>
              </a:lnSpc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8" name="Rectángulo 7"/>
          <p:cNvSpPr/>
          <p:nvPr/>
        </p:nvSpPr>
        <p:spPr>
          <a:xfrm>
            <a:off x="10351159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631992" y="1256740"/>
            <a:ext cx="2269066" cy="1236156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s-PE" dirty="0" err="1" smtClean="0"/>
              <a:t>Indice</a:t>
            </a:r>
            <a:r>
              <a:rPr lang="es-PE" dirty="0" smtClean="0"/>
              <a:t>//Agenda</a:t>
            </a:r>
            <a:endParaRPr lang="es-PE" dirty="0"/>
          </a:p>
        </p:txBody>
      </p:sp>
      <p:sp>
        <p:nvSpPr>
          <p:cNvPr id="10" name="Rectángulo 9"/>
          <p:cNvSpPr/>
          <p:nvPr userDrawn="1"/>
        </p:nvSpPr>
        <p:spPr>
          <a:xfrm>
            <a:off x="10351145" y="111125"/>
            <a:ext cx="164341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034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2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7"/>
          <p:cNvSpPr/>
          <p:nvPr/>
        </p:nvSpPr>
        <p:spPr>
          <a:xfrm>
            <a:off x="10351159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0" y="301215"/>
            <a:ext cx="9923578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70432" y="6604645"/>
            <a:ext cx="1921933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8484" y="6604645"/>
            <a:ext cx="3860800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610" y="6604645"/>
            <a:ext cx="521957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1" name="Rectángulo 10"/>
          <p:cNvSpPr/>
          <p:nvPr userDrawn="1"/>
        </p:nvSpPr>
        <p:spPr>
          <a:xfrm>
            <a:off x="10351145" y="111125"/>
            <a:ext cx="164341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521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ulo + Sub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36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ángulo 7"/>
          <p:cNvSpPr/>
          <p:nvPr/>
        </p:nvSpPr>
        <p:spPr>
          <a:xfrm>
            <a:off x="10351159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0" y="301215"/>
            <a:ext cx="9923578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70432" y="6604645"/>
            <a:ext cx="1921933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8484" y="6604645"/>
            <a:ext cx="3860800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610" y="6604645"/>
            <a:ext cx="521957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7570" y="793118"/>
            <a:ext cx="9923578" cy="576262"/>
          </a:xfrm>
        </p:spPr>
        <p:txBody>
          <a:bodyPr/>
          <a:lstStyle>
            <a:lvl1pPr marL="0" indent="0">
              <a:buFontTx/>
              <a:buNone/>
              <a:defRPr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s-PE" dirty="0" smtClean="0"/>
              <a:t>Subtítulo</a:t>
            </a:r>
            <a:endParaRPr lang="es-PE" dirty="0"/>
          </a:p>
        </p:txBody>
      </p:sp>
      <p:sp>
        <p:nvSpPr>
          <p:cNvPr id="15" name="Rectángulo 14"/>
          <p:cNvSpPr/>
          <p:nvPr userDrawn="1"/>
        </p:nvSpPr>
        <p:spPr>
          <a:xfrm>
            <a:off x="10351145" y="111125"/>
            <a:ext cx="164341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" name="Imagen 1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40050" y="342332"/>
            <a:ext cx="1009270" cy="8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328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sumen Mensajes/Pregun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60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ángulo 7"/>
          <p:cNvSpPr/>
          <p:nvPr/>
        </p:nvSpPr>
        <p:spPr>
          <a:xfrm>
            <a:off x="10351159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BE7C8-50EE-4BFD-A2D3-3A8BB0FF1D3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ángulo redondeado 11"/>
          <p:cNvSpPr/>
          <p:nvPr/>
        </p:nvSpPr>
        <p:spPr>
          <a:xfrm>
            <a:off x="827632" y="1741065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ángulo redondeado 13"/>
          <p:cNvSpPr/>
          <p:nvPr/>
        </p:nvSpPr>
        <p:spPr>
          <a:xfrm>
            <a:off x="827632" y="2568872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ángulo redondeado 15"/>
          <p:cNvSpPr/>
          <p:nvPr/>
        </p:nvSpPr>
        <p:spPr>
          <a:xfrm>
            <a:off x="827632" y="3396678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ángulo redondeado 17"/>
          <p:cNvSpPr/>
          <p:nvPr/>
        </p:nvSpPr>
        <p:spPr>
          <a:xfrm>
            <a:off x="827632" y="4224484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ángulo redondeado 19"/>
          <p:cNvSpPr/>
          <p:nvPr/>
        </p:nvSpPr>
        <p:spPr>
          <a:xfrm>
            <a:off x="827632" y="5052291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7632" y="1741795"/>
            <a:ext cx="503767" cy="390054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29" name="Marcador de texto 13"/>
          <p:cNvSpPr>
            <a:spLocks noGrp="1"/>
          </p:cNvSpPr>
          <p:nvPr>
            <p:ph type="body" sz="quarter" idx="23" hasCustomPrompt="1"/>
          </p:nvPr>
        </p:nvSpPr>
        <p:spPr>
          <a:xfrm>
            <a:off x="827632" y="2581127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0" name="Marcador de texto 13"/>
          <p:cNvSpPr>
            <a:spLocks noGrp="1"/>
          </p:cNvSpPr>
          <p:nvPr>
            <p:ph type="body" sz="quarter" idx="24" hasCustomPrompt="1"/>
          </p:nvPr>
        </p:nvSpPr>
        <p:spPr>
          <a:xfrm>
            <a:off x="827632" y="3400522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1" name="Marcador de texto 13"/>
          <p:cNvSpPr>
            <a:spLocks noGrp="1"/>
          </p:cNvSpPr>
          <p:nvPr>
            <p:ph type="body" sz="quarter" idx="25" hasCustomPrompt="1"/>
          </p:nvPr>
        </p:nvSpPr>
        <p:spPr>
          <a:xfrm>
            <a:off x="827632" y="4230624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2" name="Marcador de texto 13"/>
          <p:cNvSpPr>
            <a:spLocks noGrp="1"/>
          </p:cNvSpPr>
          <p:nvPr>
            <p:ph type="body" sz="quarter" idx="26" hasCustomPrompt="1"/>
          </p:nvPr>
        </p:nvSpPr>
        <p:spPr>
          <a:xfrm>
            <a:off x="827632" y="5064546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427570" y="301214"/>
            <a:ext cx="9923578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dirty="0" smtClean="0"/>
              <a:t>Mensajes/Preguntas</a:t>
            </a:r>
            <a:endParaRPr lang="en-US" dirty="0"/>
          </a:p>
        </p:txBody>
      </p:sp>
      <p:sp>
        <p:nvSpPr>
          <p:cNvPr id="40" name="Content Placeholder 2"/>
          <p:cNvSpPr>
            <a:spLocks noGrp="1"/>
          </p:cNvSpPr>
          <p:nvPr>
            <p:ph idx="1"/>
          </p:nvPr>
        </p:nvSpPr>
        <p:spPr>
          <a:xfrm>
            <a:off x="1487484" y="1697315"/>
            <a:ext cx="8863662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32"/>
          </p:nvPr>
        </p:nvSpPr>
        <p:spPr>
          <a:xfrm>
            <a:off x="1487488" y="2528020"/>
            <a:ext cx="8863662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33"/>
          </p:nvPr>
        </p:nvSpPr>
        <p:spPr>
          <a:xfrm>
            <a:off x="1487484" y="3358725"/>
            <a:ext cx="8863662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34"/>
          </p:nvPr>
        </p:nvSpPr>
        <p:spPr>
          <a:xfrm>
            <a:off x="1487488" y="4173888"/>
            <a:ext cx="8863662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35"/>
          </p:nvPr>
        </p:nvSpPr>
        <p:spPr>
          <a:xfrm>
            <a:off x="1487484" y="5004593"/>
            <a:ext cx="8863662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83568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ensajes/Pregun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84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438" y="301214"/>
            <a:ext cx="9343710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BE7C8-50EE-4BFD-A2D3-3A8BB0FF1D3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6"/>
          <p:cNvSpPr/>
          <p:nvPr/>
        </p:nvSpPr>
        <p:spPr>
          <a:xfrm>
            <a:off x="395015" y="374650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406644" y="386893"/>
            <a:ext cx="480484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799328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 con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8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27" y="301214"/>
            <a:ext cx="9535732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5427" y="1484784"/>
            <a:ext cx="10987121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BE7C8-50EE-4BFD-A2D3-3A8BB0FF1D3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13" hasCustomPrompt="1"/>
          </p:nvPr>
        </p:nvSpPr>
        <p:spPr>
          <a:xfrm>
            <a:off x="171091" y="111125"/>
            <a:ext cx="442003" cy="6386494"/>
          </a:xfrm>
          <a:solidFill>
            <a:schemeClr val="accent1"/>
          </a:solidFill>
        </p:spPr>
        <p:txBody>
          <a:bodyPr vert="horz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  <a:lvl4pPr marL="1371600" indent="0" algn="ctr">
              <a:buFontTx/>
              <a:buNone/>
              <a:defRPr/>
            </a:lvl4pPr>
            <a:lvl5pPr marL="1828800" indent="0" algn="ctr">
              <a:buFontTx/>
              <a:buNone/>
              <a:defRPr/>
            </a:lvl5pPr>
          </a:lstStyle>
          <a:p>
            <a:pPr lvl="0"/>
            <a:r>
              <a:rPr lang="es-PE" dirty="0" smtClean="0"/>
              <a:t>CATEGORIA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466890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scripcion Pil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32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733502" y="1773660"/>
            <a:ext cx="0" cy="449651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732723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Conector recto 11"/>
          <p:cNvCxnSpPr/>
          <p:nvPr/>
        </p:nvCxnSpPr>
        <p:spPr>
          <a:xfrm>
            <a:off x="1152168" y="3200113"/>
            <a:ext cx="6528726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Conector recto 12"/>
          <p:cNvCxnSpPr/>
          <p:nvPr/>
        </p:nvCxnSpPr>
        <p:spPr>
          <a:xfrm>
            <a:off x="1152168" y="4705876"/>
            <a:ext cx="6528726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4" name="Grupo 13"/>
          <p:cNvGrpSpPr/>
          <p:nvPr/>
        </p:nvGrpSpPr>
        <p:grpSpPr>
          <a:xfrm>
            <a:off x="624049" y="1893130"/>
            <a:ext cx="2640000" cy="1080000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15" name="Grupo 14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17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Forma libre 17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CuadroTexto 15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Qué se va a responder? </a:t>
              </a: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624049" y="3362784"/>
            <a:ext cx="2640000" cy="1080000"/>
            <a:chOff x="1462955" y="2119343"/>
            <a:chExt cx="1656185" cy="1473512"/>
          </a:xfrm>
          <a:solidFill>
            <a:srgbClr val="CED0EA"/>
          </a:solidFill>
        </p:grpSpPr>
        <p:grpSp>
          <p:nvGrpSpPr>
            <p:cNvPr id="20" name="Grupo 19"/>
            <p:cNvGrpSpPr/>
            <p:nvPr/>
          </p:nvGrpSpPr>
          <p:grpSpPr>
            <a:xfrm>
              <a:off x="1462955" y="2119343"/>
              <a:ext cx="1656185" cy="1473512"/>
              <a:chOff x="1763686" y="1940801"/>
              <a:chExt cx="2079181" cy="1800959"/>
            </a:xfrm>
            <a:grpFill/>
          </p:grpSpPr>
          <p:sp>
            <p:nvSpPr>
              <p:cNvPr id="22" name="Rectángulo redondeado 19"/>
              <p:cNvSpPr/>
              <p:nvPr/>
            </p:nvSpPr>
            <p:spPr>
              <a:xfrm>
                <a:off x="1763686" y="1940801"/>
                <a:ext cx="2079181" cy="1800959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Forma libre 22"/>
              <p:cNvSpPr/>
              <p:nvPr/>
            </p:nvSpPr>
            <p:spPr>
              <a:xfrm>
                <a:off x="1774031" y="3565396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CuadroTexto 20"/>
            <p:cNvSpPr txBox="1"/>
            <p:nvPr/>
          </p:nvSpPr>
          <p:spPr>
            <a:xfrm>
              <a:off x="1483895" y="2378216"/>
              <a:ext cx="1554272" cy="7138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Cómo lo responderemos?</a:t>
              </a:r>
            </a:p>
          </p:txBody>
        </p:sp>
      </p:grpSp>
      <p:grpSp>
        <p:nvGrpSpPr>
          <p:cNvPr id="24" name="Grupo 23"/>
          <p:cNvGrpSpPr/>
          <p:nvPr/>
        </p:nvGrpSpPr>
        <p:grpSpPr>
          <a:xfrm>
            <a:off x="621023" y="4839939"/>
            <a:ext cx="2640000" cy="1080000"/>
            <a:chOff x="1462955" y="2117750"/>
            <a:chExt cx="1656185" cy="1395618"/>
          </a:xfrm>
          <a:solidFill>
            <a:srgbClr val="BFB7E3"/>
          </a:solidFill>
        </p:grpSpPr>
        <p:grpSp>
          <p:nvGrpSpPr>
            <p:cNvPr id="25" name="Grupo 24"/>
            <p:cNvGrpSpPr/>
            <p:nvPr/>
          </p:nvGrpSpPr>
          <p:grpSpPr>
            <a:xfrm>
              <a:off x="1462955" y="2117750"/>
              <a:ext cx="1656185" cy="1395618"/>
              <a:chOff x="1763686" y="1938853"/>
              <a:chExt cx="2079181" cy="1705755"/>
            </a:xfrm>
            <a:grpFill/>
          </p:grpSpPr>
          <p:sp>
            <p:nvSpPr>
              <p:cNvPr id="27" name="Rectángulo redondeado 19"/>
              <p:cNvSpPr/>
              <p:nvPr/>
            </p:nvSpPr>
            <p:spPr>
              <a:xfrm>
                <a:off x="1763686" y="1938853"/>
                <a:ext cx="2079181" cy="1705755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rgbClr val="9289C9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" name="Forma libre 27"/>
              <p:cNvSpPr/>
              <p:nvPr/>
            </p:nvSpPr>
            <p:spPr>
              <a:xfrm>
                <a:off x="1776768" y="3478883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rgbClr val="9289C9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6" name="CuadroTexto 25"/>
            <p:cNvSpPr txBox="1"/>
            <p:nvPr/>
          </p:nvSpPr>
          <p:spPr>
            <a:xfrm>
              <a:off x="1483896" y="2374524"/>
              <a:ext cx="1554272" cy="6761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Qué mejoras se han incorporado?</a:t>
              </a:r>
            </a:p>
          </p:txBody>
        </p:sp>
      </p:grpSp>
      <p:grpSp>
        <p:nvGrpSpPr>
          <p:cNvPr id="29" name="Grupo 28"/>
          <p:cNvGrpSpPr/>
          <p:nvPr/>
        </p:nvGrpSpPr>
        <p:grpSpPr>
          <a:xfrm>
            <a:off x="1152179" y="1257501"/>
            <a:ext cx="6754468" cy="360000"/>
            <a:chOff x="991125" y="1257501"/>
            <a:chExt cx="5065851" cy="360000"/>
          </a:xfrm>
        </p:grpSpPr>
        <p:sp>
          <p:nvSpPr>
            <p:cNvPr id="30" name="Datos almacenados 29"/>
            <p:cNvSpPr/>
            <p:nvPr/>
          </p:nvSpPr>
          <p:spPr>
            <a:xfrm flipH="1">
              <a:off x="991125" y="1257501"/>
              <a:ext cx="442510" cy="360000"/>
            </a:xfrm>
            <a:prstGeom prst="flowChartOnlineStorag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1238250" y="1257501"/>
              <a:ext cx="4818726" cy="36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554045" y="1875513"/>
            <a:ext cx="4237280" cy="1168442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563948" y="3381275"/>
            <a:ext cx="4237280" cy="1168442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14"/>
          </p:nvPr>
        </p:nvSpPr>
        <p:spPr>
          <a:xfrm>
            <a:off x="3554045" y="4859858"/>
            <a:ext cx="4237280" cy="1168442"/>
          </a:xfrm>
        </p:spPr>
        <p:txBody>
          <a:bodyPr/>
          <a:lstStyle>
            <a:lvl1pPr marL="0" indent="363538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5"/>
          </p:nvPr>
        </p:nvSpPr>
        <p:spPr>
          <a:xfrm>
            <a:off x="1254863" y="1254066"/>
            <a:ext cx="6651772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8236147" y="1254066"/>
            <a:ext cx="3298284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Content Placeholder 2"/>
          <p:cNvSpPr>
            <a:spLocks noGrp="1"/>
          </p:cNvSpPr>
          <p:nvPr>
            <p:ph idx="16"/>
          </p:nvPr>
        </p:nvSpPr>
        <p:spPr>
          <a:xfrm>
            <a:off x="8280472" y="1808748"/>
            <a:ext cx="3253959" cy="28426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17"/>
          </p:nvPr>
        </p:nvSpPr>
        <p:spPr>
          <a:xfrm>
            <a:off x="8261536" y="3949468"/>
            <a:ext cx="3272884" cy="271616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18"/>
          </p:nvPr>
        </p:nvSpPr>
        <p:spPr>
          <a:xfrm>
            <a:off x="8285659" y="2167274"/>
            <a:ext cx="3248768" cy="171872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2" name="Marcador de posición de imagen 31"/>
          <p:cNvSpPr>
            <a:spLocks noGrp="1"/>
          </p:cNvSpPr>
          <p:nvPr>
            <p:ph type="pic" sz="quarter" idx="20"/>
          </p:nvPr>
        </p:nvSpPr>
        <p:spPr>
          <a:xfrm>
            <a:off x="732379" y="1284313"/>
            <a:ext cx="419100" cy="307975"/>
          </a:xfrm>
        </p:spPr>
        <p:txBody>
          <a:bodyPr/>
          <a:lstStyle>
            <a:lvl1pPr marL="0" indent="0">
              <a:buFontTx/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PE" dirty="0"/>
          </a:p>
        </p:txBody>
      </p:sp>
      <p:sp>
        <p:nvSpPr>
          <p:cNvPr id="47" name="Title 1"/>
          <p:cNvSpPr>
            <a:spLocks noGrp="1"/>
          </p:cNvSpPr>
          <p:nvPr>
            <p:ph type="title"/>
          </p:nvPr>
        </p:nvSpPr>
        <p:spPr>
          <a:xfrm>
            <a:off x="427570" y="301215"/>
            <a:ext cx="9923578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8" name="Content Placeholder 2"/>
          <p:cNvSpPr>
            <a:spLocks noGrp="1"/>
          </p:cNvSpPr>
          <p:nvPr>
            <p:ph idx="21"/>
          </p:nvPr>
        </p:nvSpPr>
        <p:spPr>
          <a:xfrm>
            <a:off x="8285661" y="4293096"/>
            <a:ext cx="3248768" cy="1751664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9" name="Content Placeholder 2"/>
          <p:cNvSpPr>
            <a:spLocks noGrp="1"/>
          </p:cNvSpPr>
          <p:nvPr>
            <p:ph idx="22"/>
          </p:nvPr>
        </p:nvSpPr>
        <p:spPr>
          <a:xfrm>
            <a:off x="8220867" y="1254066"/>
            <a:ext cx="3298284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70846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scripcion Pil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56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0" y="301215"/>
            <a:ext cx="9923578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733502" y="1773660"/>
            <a:ext cx="0" cy="449651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732723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Conector recto 11"/>
          <p:cNvCxnSpPr/>
          <p:nvPr/>
        </p:nvCxnSpPr>
        <p:spPr>
          <a:xfrm>
            <a:off x="1152168" y="3936919"/>
            <a:ext cx="6528726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Conector recto 12"/>
          <p:cNvCxnSpPr/>
          <p:nvPr/>
        </p:nvCxnSpPr>
        <p:spPr>
          <a:xfrm>
            <a:off x="1160116" y="6136776"/>
            <a:ext cx="6528726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4" name="Grupo 13"/>
          <p:cNvGrpSpPr/>
          <p:nvPr/>
        </p:nvGrpSpPr>
        <p:grpSpPr>
          <a:xfrm>
            <a:off x="624063" y="2020130"/>
            <a:ext cx="2508463" cy="135064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15" name="Grupo 14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17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Forma libre 17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CuadroTexto 15"/>
            <p:cNvSpPr txBox="1"/>
            <p:nvPr/>
          </p:nvSpPr>
          <p:spPr>
            <a:xfrm>
              <a:off x="1482349" y="2563318"/>
              <a:ext cx="1554272" cy="5982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Qué se va a responder? </a:t>
              </a: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624052" y="4251784"/>
            <a:ext cx="2510927" cy="1350000"/>
            <a:chOff x="1462955" y="2119343"/>
            <a:chExt cx="1656185" cy="1473512"/>
          </a:xfrm>
          <a:solidFill>
            <a:srgbClr val="CED0EA"/>
          </a:solidFill>
        </p:grpSpPr>
        <p:grpSp>
          <p:nvGrpSpPr>
            <p:cNvPr id="20" name="Grupo 19"/>
            <p:cNvGrpSpPr/>
            <p:nvPr/>
          </p:nvGrpSpPr>
          <p:grpSpPr>
            <a:xfrm>
              <a:off x="1462955" y="2119343"/>
              <a:ext cx="1656185" cy="1473512"/>
              <a:chOff x="1763686" y="1940801"/>
              <a:chExt cx="2079181" cy="1800959"/>
            </a:xfrm>
            <a:grpFill/>
          </p:grpSpPr>
          <p:sp>
            <p:nvSpPr>
              <p:cNvPr id="22" name="Rectángulo redondeado 19"/>
              <p:cNvSpPr/>
              <p:nvPr/>
            </p:nvSpPr>
            <p:spPr>
              <a:xfrm>
                <a:off x="1763686" y="1940801"/>
                <a:ext cx="2079181" cy="1800959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Forma libre 22"/>
              <p:cNvSpPr/>
              <p:nvPr/>
            </p:nvSpPr>
            <p:spPr>
              <a:xfrm>
                <a:off x="1774031" y="3565396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CuadroTexto 20"/>
            <p:cNvSpPr txBox="1"/>
            <p:nvPr/>
          </p:nvSpPr>
          <p:spPr>
            <a:xfrm>
              <a:off x="1483895" y="2449603"/>
              <a:ext cx="1554272" cy="571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Cómo lo responderemos?</a:t>
              </a:r>
            </a:p>
          </p:txBody>
        </p:sp>
      </p:grpSp>
      <p:grpSp>
        <p:nvGrpSpPr>
          <p:cNvPr id="29" name="Grupo 28"/>
          <p:cNvGrpSpPr/>
          <p:nvPr/>
        </p:nvGrpSpPr>
        <p:grpSpPr>
          <a:xfrm>
            <a:off x="1152179" y="1257501"/>
            <a:ext cx="6754468" cy="360000"/>
            <a:chOff x="991125" y="1257501"/>
            <a:chExt cx="5065851" cy="360000"/>
          </a:xfrm>
        </p:grpSpPr>
        <p:sp>
          <p:nvSpPr>
            <p:cNvPr id="30" name="Datos almacenados 29"/>
            <p:cNvSpPr/>
            <p:nvPr/>
          </p:nvSpPr>
          <p:spPr>
            <a:xfrm flipH="1">
              <a:off x="991125" y="1257501"/>
              <a:ext cx="442510" cy="360000"/>
            </a:xfrm>
            <a:prstGeom prst="flowChartOnlineStorag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1238250" y="1257501"/>
              <a:ext cx="4818726" cy="36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554045" y="2002513"/>
            <a:ext cx="4237280" cy="165293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563948" y="4270275"/>
            <a:ext cx="4237280" cy="1652400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5"/>
          </p:nvPr>
        </p:nvSpPr>
        <p:spPr>
          <a:xfrm>
            <a:off x="1254863" y="1254066"/>
            <a:ext cx="6651772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8236147" y="1254066"/>
            <a:ext cx="3298284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Content Placeholder 2"/>
          <p:cNvSpPr>
            <a:spLocks noGrp="1"/>
          </p:cNvSpPr>
          <p:nvPr>
            <p:ph idx="16"/>
          </p:nvPr>
        </p:nvSpPr>
        <p:spPr>
          <a:xfrm>
            <a:off x="8280472" y="1808748"/>
            <a:ext cx="3253959" cy="28426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7"/>
          </p:nvPr>
        </p:nvSpPr>
        <p:spPr>
          <a:xfrm>
            <a:off x="8261536" y="3949468"/>
            <a:ext cx="3272884" cy="271616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18"/>
          </p:nvPr>
        </p:nvSpPr>
        <p:spPr>
          <a:xfrm>
            <a:off x="8285659" y="2167274"/>
            <a:ext cx="3248768" cy="171872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21"/>
          </p:nvPr>
        </p:nvSpPr>
        <p:spPr>
          <a:xfrm>
            <a:off x="8285661" y="4293096"/>
            <a:ext cx="3248768" cy="1751664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Marcador de posición de imagen 31"/>
          <p:cNvSpPr>
            <a:spLocks noGrp="1"/>
          </p:cNvSpPr>
          <p:nvPr>
            <p:ph type="pic" sz="quarter" idx="20"/>
          </p:nvPr>
        </p:nvSpPr>
        <p:spPr>
          <a:xfrm>
            <a:off x="732379" y="1284313"/>
            <a:ext cx="419100" cy="307975"/>
          </a:xfrm>
        </p:spPr>
        <p:txBody>
          <a:bodyPr/>
          <a:lstStyle>
            <a:lvl1pPr marL="0" indent="0">
              <a:buFontTx/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PE" dirty="0"/>
          </a:p>
        </p:txBody>
      </p:sp>
      <p:sp>
        <p:nvSpPr>
          <p:cNvPr id="45" name="Content Placeholder 2"/>
          <p:cNvSpPr>
            <a:spLocks noGrp="1"/>
          </p:cNvSpPr>
          <p:nvPr>
            <p:ph idx="22"/>
          </p:nvPr>
        </p:nvSpPr>
        <p:spPr>
          <a:xfrm>
            <a:off x="8220867" y="1254066"/>
            <a:ext cx="3298284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80135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cti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80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/>
        </p:nvSpPr>
        <p:spPr>
          <a:xfrm>
            <a:off x="753212" y="1574800"/>
            <a:ext cx="10659867" cy="4419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0" y="297513"/>
            <a:ext cx="9923578" cy="861320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740569" y="1773658"/>
            <a:ext cx="0" cy="422074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732723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8" name="Content Placeholder 2"/>
          <p:cNvSpPr>
            <a:spLocks noGrp="1"/>
          </p:cNvSpPr>
          <p:nvPr>
            <p:ph idx="13"/>
          </p:nvPr>
        </p:nvSpPr>
        <p:spPr>
          <a:xfrm>
            <a:off x="3226967" y="1777361"/>
            <a:ext cx="3792000" cy="408375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14"/>
          </p:nvPr>
        </p:nvSpPr>
        <p:spPr>
          <a:xfrm>
            <a:off x="7334955" y="1777361"/>
            <a:ext cx="3792000" cy="408375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Marcador de posición de imagen 39"/>
          <p:cNvSpPr>
            <a:spLocks noGrp="1"/>
          </p:cNvSpPr>
          <p:nvPr>
            <p:ph type="pic" sz="quarter" idx="15"/>
          </p:nvPr>
        </p:nvSpPr>
        <p:spPr>
          <a:xfrm>
            <a:off x="3227916" y="2387600"/>
            <a:ext cx="3792000" cy="34290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60" name="Marcador de posición de imagen 39"/>
          <p:cNvSpPr>
            <a:spLocks noGrp="1"/>
          </p:cNvSpPr>
          <p:nvPr>
            <p:ph type="pic" sz="quarter" idx="16"/>
          </p:nvPr>
        </p:nvSpPr>
        <p:spPr>
          <a:xfrm>
            <a:off x="7327350" y="2387600"/>
            <a:ext cx="3792000" cy="34290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grpSp>
        <p:nvGrpSpPr>
          <p:cNvPr id="61" name="Grupo 60"/>
          <p:cNvGrpSpPr/>
          <p:nvPr/>
        </p:nvGrpSpPr>
        <p:grpSpPr>
          <a:xfrm>
            <a:off x="645230" y="1811353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62" name="Grupo 61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64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Forma libre 64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3" name="CuadroTexto 62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66" name="Content Placeholder 2"/>
          <p:cNvSpPr>
            <a:spLocks noGrp="1"/>
          </p:cNvSpPr>
          <p:nvPr>
            <p:ph idx="1"/>
          </p:nvPr>
        </p:nvSpPr>
        <p:spPr>
          <a:xfrm>
            <a:off x="842959" y="1934689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17565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7"/>
          <p:cNvSpPr/>
          <p:nvPr/>
        </p:nvSpPr>
        <p:spPr>
          <a:xfrm>
            <a:off x="10351145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69" y="301215"/>
            <a:ext cx="9923577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70419" y="6604620"/>
            <a:ext cx="1921933" cy="365125"/>
          </a:xfrm>
        </p:spPr>
        <p:txBody>
          <a:bodyPr/>
          <a:lstStyle>
            <a:lvl1pPr>
              <a:defRPr/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8484" y="6604620"/>
            <a:ext cx="3860800" cy="365125"/>
          </a:xfrm>
          <a:ln/>
        </p:spPr>
        <p:txBody>
          <a:bodyPr/>
          <a:lstStyle>
            <a:lvl1pPr>
              <a:defRPr/>
            </a:lvl1pPr>
          </a:lstStyle>
          <a:p>
            <a:endParaRPr lang="es-PE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604620"/>
            <a:ext cx="521957" cy="365125"/>
          </a:xfrm>
        </p:spPr>
        <p:txBody>
          <a:bodyPr/>
          <a:lstStyle>
            <a:lvl1pPr>
              <a:defRPr/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295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ctic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4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/>
        </p:nvSpPr>
        <p:spPr>
          <a:xfrm>
            <a:off x="753212" y="1574800"/>
            <a:ext cx="10659867" cy="4419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0" y="301215"/>
            <a:ext cx="9923578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741970" y="1571625"/>
            <a:ext cx="0" cy="422074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5" name="Grupo 44"/>
          <p:cNvGrpSpPr/>
          <p:nvPr/>
        </p:nvGrpSpPr>
        <p:grpSpPr>
          <a:xfrm>
            <a:off x="645230" y="1814528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47" name="Grupo 46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49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orma libre 49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8" name="CuadroTexto 47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57" name="Content Placeholder 2"/>
          <p:cNvSpPr>
            <a:spLocks noGrp="1"/>
          </p:cNvSpPr>
          <p:nvPr>
            <p:ph idx="1"/>
          </p:nvPr>
        </p:nvSpPr>
        <p:spPr>
          <a:xfrm>
            <a:off x="842959" y="1934689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58" name="Content Placeholder 2"/>
          <p:cNvSpPr>
            <a:spLocks noGrp="1"/>
          </p:cNvSpPr>
          <p:nvPr>
            <p:ph idx="13"/>
          </p:nvPr>
        </p:nvSpPr>
        <p:spPr>
          <a:xfrm>
            <a:off x="3159245" y="1680767"/>
            <a:ext cx="3801600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7"/>
          </p:nvPr>
        </p:nvSpPr>
        <p:spPr>
          <a:xfrm>
            <a:off x="7281349" y="1680767"/>
            <a:ext cx="3802663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grpSp>
        <p:nvGrpSpPr>
          <p:cNvPr id="23" name="Grupo 22"/>
          <p:cNvGrpSpPr/>
          <p:nvPr/>
        </p:nvGrpSpPr>
        <p:grpSpPr>
          <a:xfrm>
            <a:off x="645230" y="4097236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24" name="Grupo 23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26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" name="Forma libre 26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CuadroTexto 24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12" name="Rectángulo 11"/>
          <p:cNvSpPr/>
          <p:nvPr/>
        </p:nvSpPr>
        <p:spPr>
          <a:xfrm>
            <a:off x="654967" y="3758831"/>
            <a:ext cx="11147569" cy="99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Content Placeholder 2"/>
          <p:cNvSpPr>
            <a:spLocks noGrp="1"/>
          </p:cNvSpPr>
          <p:nvPr>
            <p:ph idx="19"/>
          </p:nvPr>
        </p:nvSpPr>
        <p:spPr>
          <a:xfrm>
            <a:off x="3159245" y="3916334"/>
            <a:ext cx="3801600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0"/>
          </p:nvPr>
        </p:nvSpPr>
        <p:spPr>
          <a:xfrm>
            <a:off x="7281335" y="3916334"/>
            <a:ext cx="3802664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21"/>
          </p:nvPr>
        </p:nvSpPr>
        <p:spPr>
          <a:xfrm>
            <a:off x="835896" y="4215348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16" name="Marcador de posición de imagen 15"/>
          <p:cNvSpPr>
            <a:spLocks noGrp="1"/>
          </p:cNvSpPr>
          <p:nvPr>
            <p:ph type="pic" sz="quarter" idx="22"/>
          </p:nvPr>
        </p:nvSpPr>
        <p:spPr>
          <a:xfrm>
            <a:off x="3160184" y="2120900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7" name="Marcador de posición de imagen 15"/>
          <p:cNvSpPr>
            <a:spLocks noGrp="1"/>
          </p:cNvSpPr>
          <p:nvPr>
            <p:ph type="pic" sz="quarter" idx="23"/>
          </p:nvPr>
        </p:nvSpPr>
        <p:spPr>
          <a:xfrm>
            <a:off x="7281344" y="210486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8" name="Marcador de posición de imagen 15"/>
          <p:cNvSpPr>
            <a:spLocks noGrp="1"/>
          </p:cNvSpPr>
          <p:nvPr>
            <p:ph type="pic" sz="quarter" idx="24"/>
          </p:nvPr>
        </p:nvSpPr>
        <p:spPr>
          <a:xfrm>
            <a:off x="7275850" y="433722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9" name="Marcador de posición de imagen 15"/>
          <p:cNvSpPr>
            <a:spLocks noGrp="1"/>
          </p:cNvSpPr>
          <p:nvPr>
            <p:ph type="pic" sz="quarter" idx="25"/>
          </p:nvPr>
        </p:nvSpPr>
        <p:spPr>
          <a:xfrm>
            <a:off x="3184952" y="433722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73799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1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" hidden="1"/>
          <p:cNvGraphicFramePr>
            <a:graphicFrameLocks noChangeAspect="1"/>
          </p:cNvGraphicFramePr>
          <p:nvPr/>
        </p:nvGraphicFramePr>
        <p:xfrm>
          <a:off x="1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1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0A9ED6-016A-40BD-BC0C-A24D14D2362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718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PO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dirty="0" smtClean="0"/>
              <a:t>PO3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F276D-F836-45E4-90EB-1FBF172D466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Slide Number Placeholder 5"/>
          <p:cNvSpPr txBox="1">
            <a:spLocks/>
          </p:cNvSpPr>
          <p:nvPr/>
        </p:nvSpPr>
        <p:spPr bwMode="auto">
          <a:xfrm>
            <a:off x="8957733" y="6580214"/>
            <a:ext cx="2844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1A8B0C9-0003-4D95-B5E0-359CE90C296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srgbClr val="0BAADD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srgbClr val="0BAADD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3" name="5 Rectángulo"/>
          <p:cNvSpPr>
            <a:spLocks noChangeArrowheads="1"/>
          </p:cNvSpPr>
          <p:nvPr/>
        </p:nvSpPr>
        <p:spPr bwMode="auto">
          <a:xfrm>
            <a:off x="609613" y="4652963"/>
            <a:ext cx="5251451" cy="1655762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srgbClr val="6563C0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24" name="6 Rectángulo"/>
          <p:cNvSpPr>
            <a:spLocks noChangeArrowheads="1"/>
          </p:cNvSpPr>
          <p:nvPr/>
        </p:nvSpPr>
        <p:spPr bwMode="auto">
          <a:xfrm>
            <a:off x="6146802" y="4652963"/>
            <a:ext cx="5380566" cy="1655762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572E94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/>
              </a:rPr>
              <a:t> </a:t>
            </a:r>
          </a:p>
        </p:txBody>
      </p:sp>
      <p:sp>
        <p:nvSpPr>
          <p:cNvPr id="26" name="4 Rectángulo"/>
          <p:cNvSpPr>
            <a:spLocks noChangeArrowheads="1"/>
          </p:cNvSpPr>
          <p:nvPr/>
        </p:nvSpPr>
        <p:spPr bwMode="auto">
          <a:xfrm>
            <a:off x="609601" y="3010239"/>
            <a:ext cx="10917767" cy="1358900"/>
          </a:xfrm>
          <a:prstGeom prst="rect">
            <a:avLst/>
          </a:prstGeom>
          <a:solidFill>
            <a:schemeClr val="accent1">
              <a:lumMod val="40000"/>
              <a:lumOff val="60000"/>
              <a:alpha val="50980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6563C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/>
              </a:rPr>
              <a:t> 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9"/>
          </p:nvPr>
        </p:nvSpPr>
        <p:spPr>
          <a:xfrm>
            <a:off x="665385" y="3030813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0"/>
          </p:nvPr>
        </p:nvSpPr>
        <p:spPr>
          <a:xfrm>
            <a:off x="665385" y="4672559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Content Placeholder 2"/>
          <p:cNvSpPr>
            <a:spLocks noGrp="1"/>
          </p:cNvSpPr>
          <p:nvPr>
            <p:ph idx="21"/>
          </p:nvPr>
        </p:nvSpPr>
        <p:spPr>
          <a:xfrm>
            <a:off x="6204377" y="4674352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22"/>
          </p:nvPr>
        </p:nvSpPr>
        <p:spPr>
          <a:xfrm>
            <a:off x="665376" y="3334618"/>
            <a:ext cx="10795108" cy="948829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23"/>
          </p:nvPr>
        </p:nvSpPr>
        <p:spPr>
          <a:xfrm>
            <a:off x="665373" y="4976364"/>
            <a:ext cx="5152799" cy="125324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4 Rectángulo"/>
          <p:cNvSpPr>
            <a:spLocks noChangeArrowheads="1"/>
          </p:cNvSpPr>
          <p:nvPr/>
        </p:nvSpPr>
        <p:spPr bwMode="auto">
          <a:xfrm>
            <a:off x="609601" y="1367515"/>
            <a:ext cx="10917767" cy="1358900"/>
          </a:xfrm>
          <a:prstGeom prst="rect">
            <a:avLst/>
          </a:prstGeom>
          <a:solidFill>
            <a:schemeClr val="accent1">
              <a:lumMod val="60000"/>
              <a:lumOff val="40000"/>
              <a:alpha val="50980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6563C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/>
              </a:rPr>
              <a:t> 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4"/>
          </p:nvPr>
        </p:nvSpPr>
        <p:spPr>
          <a:xfrm>
            <a:off x="665385" y="1391603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5"/>
          </p:nvPr>
        </p:nvSpPr>
        <p:spPr>
          <a:xfrm>
            <a:off x="665376" y="1695409"/>
            <a:ext cx="10795108" cy="94882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idx="26"/>
          </p:nvPr>
        </p:nvSpPr>
        <p:spPr>
          <a:xfrm>
            <a:off x="6204376" y="4963789"/>
            <a:ext cx="5268259" cy="125324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08662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Indice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23424" y="1340773"/>
            <a:ext cx="7336063" cy="4971131"/>
          </a:xfrm>
        </p:spPr>
        <p:txBody>
          <a:bodyPr/>
          <a:lstStyle>
            <a:lvl1pPr marL="0" indent="363538">
              <a:lnSpc>
                <a:spcPct val="150000"/>
              </a:lnSpc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8" name="Rectángulo 7"/>
          <p:cNvSpPr/>
          <p:nvPr/>
        </p:nvSpPr>
        <p:spPr>
          <a:xfrm>
            <a:off x="10351159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11" name="Marcador de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631992" y="1256740"/>
            <a:ext cx="2269066" cy="1236156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s-PE" dirty="0" err="1" smtClean="0"/>
              <a:t>Indice</a:t>
            </a:r>
            <a:r>
              <a:rPr lang="es-PE" dirty="0" smtClean="0"/>
              <a:t>//Agenda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688945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52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7"/>
          <p:cNvSpPr/>
          <p:nvPr/>
        </p:nvSpPr>
        <p:spPr>
          <a:xfrm>
            <a:off x="10351159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0" y="301215"/>
            <a:ext cx="9923578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70432" y="6604645"/>
            <a:ext cx="1921933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8484" y="6604645"/>
            <a:ext cx="3860800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610" y="6604645"/>
            <a:ext cx="521957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00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ulo + Sub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76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ángulo 7"/>
          <p:cNvSpPr/>
          <p:nvPr/>
        </p:nvSpPr>
        <p:spPr>
          <a:xfrm>
            <a:off x="10351159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0" y="301215"/>
            <a:ext cx="9923578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70432" y="6604645"/>
            <a:ext cx="1921933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8484" y="6604645"/>
            <a:ext cx="3860800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610" y="6604645"/>
            <a:ext cx="521957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7570" y="793118"/>
            <a:ext cx="9923578" cy="576262"/>
          </a:xfrm>
        </p:spPr>
        <p:txBody>
          <a:bodyPr/>
          <a:lstStyle>
            <a:lvl1pPr marL="0" indent="0">
              <a:buFontTx/>
              <a:buNone/>
              <a:defRPr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s-PE" dirty="0" smtClean="0"/>
              <a:t>Subtítulo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239272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Resumen Mensajes/Pregun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00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ángulo 7"/>
          <p:cNvSpPr/>
          <p:nvPr/>
        </p:nvSpPr>
        <p:spPr>
          <a:xfrm>
            <a:off x="10351159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BE7C8-50EE-4BFD-A2D3-3A8BB0FF1D3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ángulo redondeado 11"/>
          <p:cNvSpPr/>
          <p:nvPr/>
        </p:nvSpPr>
        <p:spPr>
          <a:xfrm>
            <a:off x="827632" y="1741065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ángulo redondeado 13"/>
          <p:cNvSpPr/>
          <p:nvPr/>
        </p:nvSpPr>
        <p:spPr>
          <a:xfrm>
            <a:off x="827632" y="2568872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ángulo redondeado 15"/>
          <p:cNvSpPr/>
          <p:nvPr/>
        </p:nvSpPr>
        <p:spPr>
          <a:xfrm>
            <a:off x="827632" y="3396678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ángulo redondeado 17"/>
          <p:cNvSpPr/>
          <p:nvPr/>
        </p:nvSpPr>
        <p:spPr>
          <a:xfrm>
            <a:off x="827632" y="4224484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ángulo redondeado 19"/>
          <p:cNvSpPr/>
          <p:nvPr/>
        </p:nvSpPr>
        <p:spPr>
          <a:xfrm>
            <a:off x="827632" y="5052291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7632" y="1741795"/>
            <a:ext cx="503767" cy="390054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29" name="Marcador de texto 13"/>
          <p:cNvSpPr>
            <a:spLocks noGrp="1"/>
          </p:cNvSpPr>
          <p:nvPr>
            <p:ph type="body" sz="quarter" idx="23" hasCustomPrompt="1"/>
          </p:nvPr>
        </p:nvSpPr>
        <p:spPr>
          <a:xfrm>
            <a:off x="827632" y="2581127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0" name="Marcador de texto 13"/>
          <p:cNvSpPr>
            <a:spLocks noGrp="1"/>
          </p:cNvSpPr>
          <p:nvPr>
            <p:ph type="body" sz="quarter" idx="24" hasCustomPrompt="1"/>
          </p:nvPr>
        </p:nvSpPr>
        <p:spPr>
          <a:xfrm>
            <a:off x="827632" y="3400522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1" name="Marcador de texto 13"/>
          <p:cNvSpPr>
            <a:spLocks noGrp="1"/>
          </p:cNvSpPr>
          <p:nvPr>
            <p:ph type="body" sz="quarter" idx="25" hasCustomPrompt="1"/>
          </p:nvPr>
        </p:nvSpPr>
        <p:spPr>
          <a:xfrm>
            <a:off x="827632" y="4230624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2" name="Marcador de texto 13"/>
          <p:cNvSpPr>
            <a:spLocks noGrp="1"/>
          </p:cNvSpPr>
          <p:nvPr>
            <p:ph type="body" sz="quarter" idx="26" hasCustomPrompt="1"/>
          </p:nvPr>
        </p:nvSpPr>
        <p:spPr>
          <a:xfrm>
            <a:off x="827632" y="5064546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427570" y="301214"/>
            <a:ext cx="9923578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dirty="0" smtClean="0"/>
              <a:t>Mensajes/Preguntas</a:t>
            </a:r>
            <a:endParaRPr lang="en-US" dirty="0"/>
          </a:p>
        </p:txBody>
      </p:sp>
      <p:sp>
        <p:nvSpPr>
          <p:cNvPr id="40" name="Content Placeholder 2"/>
          <p:cNvSpPr>
            <a:spLocks noGrp="1"/>
          </p:cNvSpPr>
          <p:nvPr>
            <p:ph idx="1"/>
          </p:nvPr>
        </p:nvSpPr>
        <p:spPr>
          <a:xfrm>
            <a:off x="1487484" y="1697315"/>
            <a:ext cx="8863662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32"/>
          </p:nvPr>
        </p:nvSpPr>
        <p:spPr>
          <a:xfrm>
            <a:off x="1487488" y="2528020"/>
            <a:ext cx="8863662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33"/>
          </p:nvPr>
        </p:nvSpPr>
        <p:spPr>
          <a:xfrm>
            <a:off x="1487484" y="3358725"/>
            <a:ext cx="8863662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34"/>
          </p:nvPr>
        </p:nvSpPr>
        <p:spPr>
          <a:xfrm>
            <a:off x="1487488" y="4173888"/>
            <a:ext cx="8863662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35"/>
          </p:nvPr>
        </p:nvSpPr>
        <p:spPr>
          <a:xfrm>
            <a:off x="1487484" y="5004593"/>
            <a:ext cx="8863662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175476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Mensajes/Pregun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24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438" y="301214"/>
            <a:ext cx="9343710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BE7C8-50EE-4BFD-A2D3-3A8BB0FF1D3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6"/>
          <p:cNvSpPr/>
          <p:nvPr/>
        </p:nvSpPr>
        <p:spPr>
          <a:xfrm>
            <a:off x="395015" y="374650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406644" y="386893"/>
            <a:ext cx="480484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738000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lide con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8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27" y="301214"/>
            <a:ext cx="9535732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5427" y="1484784"/>
            <a:ext cx="10987121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BE7C8-50EE-4BFD-A2D3-3A8BB0FF1D3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13" hasCustomPrompt="1"/>
          </p:nvPr>
        </p:nvSpPr>
        <p:spPr>
          <a:xfrm>
            <a:off x="171091" y="111125"/>
            <a:ext cx="442003" cy="6386494"/>
          </a:xfrm>
          <a:solidFill>
            <a:schemeClr val="accent1"/>
          </a:solidFill>
        </p:spPr>
        <p:txBody>
          <a:bodyPr vert="horz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  <a:lvl4pPr marL="1371600" indent="0" algn="ctr">
              <a:buFontTx/>
              <a:buNone/>
              <a:defRPr/>
            </a:lvl4pPr>
            <a:lvl5pPr marL="1828800" indent="0" algn="ctr">
              <a:buFontTx/>
              <a:buNone/>
              <a:defRPr/>
            </a:lvl5pPr>
          </a:lstStyle>
          <a:p>
            <a:pPr lvl="0"/>
            <a:r>
              <a:rPr lang="es-PE" dirty="0" smtClean="0"/>
              <a:t>CATEGORIA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184409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escripcion Pil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72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733502" y="1773660"/>
            <a:ext cx="0" cy="449651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732723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Conector recto 11"/>
          <p:cNvCxnSpPr/>
          <p:nvPr/>
        </p:nvCxnSpPr>
        <p:spPr>
          <a:xfrm>
            <a:off x="1152168" y="3200113"/>
            <a:ext cx="6528726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Conector recto 12"/>
          <p:cNvCxnSpPr/>
          <p:nvPr/>
        </p:nvCxnSpPr>
        <p:spPr>
          <a:xfrm>
            <a:off x="1152168" y="4705876"/>
            <a:ext cx="6528726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4" name="Grupo 13"/>
          <p:cNvGrpSpPr/>
          <p:nvPr/>
        </p:nvGrpSpPr>
        <p:grpSpPr>
          <a:xfrm>
            <a:off x="624049" y="1893130"/>
            <a:ext cx="2640000" cy="1080000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15" name="Grupo 14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17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Forma libre 17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CuadroTexto 15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Qué se va a responder? </a:t>
              </a: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624049" y="3362784"/>
            <a:ext cx="2640000" cy="1080000"/>
            <a:chOff x="1462955" y="2119343"/>
            <a:chExt cx="1656185" cy="1473512"/>
          </a:xfrm>
          <a:solidFill>
            <a:srgbClr val="CED0EA"/>
          </a:solidFill>
        </p:grpSpPr>
        <p:grpSp>
          <p:nvGrpSpPr>
            <p:cNvPr id="20" name="Grupo 19"/>
            <p:cNvGrpSpPr/>
            <p:nvPr/>
          </p:nvGrpSpPr>
          <p:grpSpPr>
            <a:xfrm>
              <a:off x="1462955" y="2119343"/>
              <a:ext cx="1656185" cy="1473512"/>
              <a:chOff x="1763686" y="1940801"/>
              <a:chExt cx="2079181" cy="1800959"/>
            </a:xfrm>
            <a:grpFill/>
          </p:grpSpPr>
          <p:sp>
            <p:nvSpPr>
              <p:cNvPr id="22" name="Rectángulo redondeado 19"/>
              <p:cNvSpPr/>
              <p:nvPr/>
            </p:nvSpPr>
            <p:spPr>
              <a:xfrm>
                <a:off x="1763686" y="1940801"/>
                <a:ext cx="2079181" cy="1800959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Forma libre 22"/>
              <p:cNvSpPr/>
              <p:nvPr/>
            </p:nvSpPr>
            <p:spPr>
              <a:xfrm>
                <a:off x="1774031" y="3565396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CuadroTexto 20"/>
            <p:cNvSpPr txBox="1"/>
            <p:nvPr/>
          </p:nvSpPr>
          <p:spPr>
            <a:xfrm>
              <a:off x="1483895" y="2378216"/>
              <a:ext cx="1554272" cy="7138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Cómo lo responderemos?</a:t>
              </a:r>
            </a:p>
          </p:txBody>
        </p:sp>
      </p:grpSp>
      <p:grpSp>
        <p:nvGrpSpPr>
          <p:cNvPr id="24" name="Grupo 23"/>
          <p:cNvGrpSpPr/>
          <p:nvPr/>
        </p:nvGrpSpPr>
        <p:grpSpPr>
          <a:xfrm>
            <a:off x="621023" y="4839939"/>
            <a:ext cx="2640000" cy="1080000"/>
            <a:chOff x="1462955" y="2117750"/>
            <a:chExt cx="1656185" cy="1395618"/>
          </a:xfrm>
          <a:solidFill>
            <a:srgbClr val="BFB7E3"/>
          </a:solidFill>
        </p:grpSpPr>
        <p:grpSp>
          <p:nvGrpSpPr>
            <p:cNvPr id="25" name="Grupo 24"/>
            <p:cNvGrpSpPr/>
            <p:nvPr/>
          </p:nvGrpSpPr>
          <p:grpSpPr>
            <a:xfrm>
              <a:off x="1462955" y="2117750"/>
              <a:ext cx="1656185" cy="1395618"/>
              <a:chOff x="1763686" y="1938853"/>
              <a:chExt cx="2079181" cy="1705755"/>
            </a:xfrm>
            <a:grpFill/>
          </p:grpSpPr>
          <p:sp>
            <p:nvSpPr>
              <p:cNvPr id="27" name="Rectángulo redondeado 19"/>
              <p:cNvSpPr/>
              <p:nvPr/>
            </p:nvSpPr>
            <p:spPr>
              <a:xfrm>
                <a:off x="1763686" y="1938853"/>
                <a:ext cx="2079181" cy="1705755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rgbClr val="9289C9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" name="Forma libre 27"/>
              <p:cNvSpPr/>
              <p:nvPr/>
            </p:nvSpPr>
            <p:spPr>
              <a:xfrm>
                <a:off x="1776768" y="3478883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rgbClr val="9289C9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6" name="CuadroTexto 25"/>
            <p:cNvSpPr txBox="1"/>
            <p:nvPr/>
          </p:nvSpPr>
          <p:spPr>
            <a:xfrm>
              <a:off x="1483896" y="2374524"/>
              <a:ext cx="1554272" cy="6761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Qué mejoras se han incorporado?</a:t>
              </a:r>
            </a:p>
          </p:txBody>
        </p:sp>
      </p:grpSp>
      <p:grpSp>
        <p:nvGrpSpPr>
          <p:cNvPr id="29" name="Grupo 28"/>
          <p:cNvGrpSpPr/>
          <p:nvPr/>
        </p:nvGrpSpPr>
        <p:grpSpPr>
          <a:xfrm>
            <a:off x="1152179" y="1257501"/>
            <a:ext cx="6754468" cy="360000"/>
            <a:chOff x="991125" y="1257501"/>
            <a:chExt cx="5065851" cy="360000"/>
          </a:xfrm>
        </p:grpSpPr>
        <p:sp>
          <p:nvSpPr>
            <p:cNvPr id="30" name="Datos almacenados 29"/>
            <p:cNvSpPr/>
            <p:nvPr/>
          </p:nvSpPr>
          <p:spPr>
            <a:xfrm flipH="1">
              <a:off x="991125" y="1257501"/>
              <a:ext cx="442510" cy="360000"/>
            </a:xfrm>
            <a:prstGeom prst="flowChartOnlineStorag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1238250" y="1257501"/>
              <a:ext cx="4818726" cy="36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554045" y="1875513"/>
            <a:ext cx="4237280" cy="1168442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563948" y="3381275"/>
            <a:ext cx="4237280" cy="1168442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14"/>
          </p:nvPr>
        </p:nvSpPr>
        <p:spPr>
          <a:xfrm>
            <a:off x="3554045" y="4859858"/>
            <a:ext cx="4237280" cy="1168442"/>
          </a:xfrm>
        </p:spPr>
        <p:txBody>
          <a:bodyPr/>
          <a:lstStyle>
            <a:lvl1pPr marL="0" indent="363538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5"/>
          </p:nvPr>
        </p:nvSpPr>
        <p:spPr>
          <a:xfrm>
            <a:off x="1254863" y="1254066"/>
            <a:ext cx="6651772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8236147" y="1254066"/>
            <a:ext cx="3298284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Content Placeholder 2"/>
          <p:cNvSpPr>
            <a:spLocks noGrp="1"/>
          </p:cNvSpPr>
          <p:nvPr>
            <p:ph idx="16"/>
          </p:nvPr>
        </p:nvSpPr>
        <p:spPr>
          <a:xfrm>
            <a:off x="8280472" y="1808748"/>
            <a:ext cx="3253959" cy="28426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17"/>
          </p:nvPr>
        </p:nvSpPr>
        <p:spPr>
          <a:xfrm>
            <a:off x="8261536" y="3949468"/>
            <a:ext cx="3272884" cy="271616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18"/>
          </p:nvPr>
        </p:nvSpPr>
        <p:spPr>
          <a:xfrm>
            <a:off x="8285659" y="2167274"/>
            <a:ext cx="3248768" cy="171872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2" name="Marcador de posición de imagen 31"/>
          <p:cNvSpPr>
            <a:spLocks noGrp="1"/>
          </p:cNvSpPr>
          <p:nvPr>
            <p:ph type="pic" sz="quarter" idx="20"/>
          </p:nvPr>
        </p:nvSpPr>
        <p:spPr>
          <a:xfrm>
            <a:off x="732379" y="1284313"/>
            <a:ext cx="419100" cy="307975"/>
          </a:xfrm>
        </p:spPr>
        <p:txBody>
          <a:bodyPr/>
          <a:lstStyle>
            <a:lvl1pPr marL="0" indent="0">
              <a:buFontTx/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PE" dirty="0"/>
          </a:p>
        </p:txBody>
      </p:sp>
      <p:sp>
        <p:nvSpPr>
          <p:cNvPr id="47" name="Title 1"/>
          <p:cNvSpPr>
            <a:spLocks noGrp="1"/>
          </p:cNvSpPr>
          <p:nvPr>
            <p:ph type="title"/>
          </p:nvPr>
        </p:nvSpPr>
        <p:spPr>
          <a:xfrm>
            <a:off x="427570" y="301215"/>
            <a:ext cx="9923578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8" name="Content Placeholder 2"/>
          <p:cNvSpPr>
            <a:spLocks noGrp="1"/>
          </p:cNvSpPr>
          <p:nvPr>
            <p:ph idx="21"/>
          </p:nvPr>
        </p:nvSpPr>
        <p:spPr>
          <a:xfrm>
            <a:off x="8285661" y="4293096"/>
            <a:ext cx="3248768" cy="1751664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9" name="Content Placeholder 2"/>
          <p:cNvSpPr>
            <a:spLocks noGrp="1"/>
          </p:cNvSpPr>
          <p:nvPr>
            <p:ph idx="22"/>
          </p:nvPr>
        </p:nvSpPr>
        <p:spPr>
          <a:xfrm>
            <a:off x="8220867" y="1254066"/>
            <a:ext cx="3298284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78686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ulo + Sub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0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ángulo 7"/>
          <p:cNvSpPr/>
          <p:nvPr/>
        </p:nvSpPr>
        <p:spPr>
          <a:xfrm>
            <a:off x="10351145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69" y="301215"/>
            <a:ext cx="9923577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70419" y="6604620"/>
            <a:ext cx="1921933" cy="365125"/>
          </a:xfrm>
        </p:spPr>
        <p:txBody>
          <a:bodyPr/>
          <a:lstStyle>
            <a:lvl1pPr>
              <a:defRPr/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8484" y="6604620"/>
            <a:ext cx="3860800" cy="365125"/>
          </a:xfrm>
          <a:ln/>
        </p:spPr>
        <p:txBody>
          <a:bodyPr/>
          <a:lstStyle>
            <a:lvl1pPr>
              <a:defRPr/>
            </a:lvl1pPr>
          </a:lstStyle>
          <a:p>
            <a:endParaRPr lang="es-PE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604620"/>
            <a:ext cx="521957" cy="365125"/>
          </a:xfrm>
        </p:spPr>
        <p:txBody>
          <a:bodyPr/>
          <a:lstStyle>
            <a:lvl1pPr>
              <a:defRPr/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8" y="793118"/>
            <a:ext cx="9923577" cy="576262"/>
          </a:xfrm>
        </p:spPr>
        <p:txBody>
          <a:bodyPr/>
          <a:lstStyle>
            <a:lvl1pPr marL="0" indent="0">
              <a:buFontTx/>
              <a:buNone/>
              <a:defRPr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s-PE" dirty="0" smtClean="0"/>
              <a:t>Subtítulo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679193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escripcion Pil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96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0" y="301215"/>
            <a:ext cx="9923578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733502" y="1773660"/>
            <a:ext cx="0" cy="449651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732723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Conector recto 11"/>
          <p:cNvCxnSpPr/>
          <p:nvPr/>
        </p:nvCxnSpPr>
        <p:spPr>
          <a:xfrm>
            <a:off x="1152168" y="3936919"/>
            <a:ext cx="6528726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Conector recto 12"/>
          <p:cNvCxnSpPr/>
          <p:nvPr/>
        </p:nvCxnSpPr>
        <p:spPr>
          <a:xfrm>
            <a:off x="1160116" y="6136776"/>
            <a:ext cx="6528726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4" name="Grupo 13"/>
          <p:cNvGrpSpPr/>
          <p:nvPr/>
        </p:nvGrpSpPr>
        <p:grpSpPr>
          <a:xfrm>
            <a:off x="624063" y="2020130"/>
            <a:ext cx="2508463" cy="135064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15" name="Grupo 14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17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Forma libre 17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CuadroTexto 15"/>
            <p:cNvSpPr txBox="1"/>
            <p:nvPr/>
          </p:nvSpPr>
          <p:spPr>
            <a:xfrm>
              <a:off x="1482349" y="2563318"/>
              <a:ext cx="1554272" cy="5982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Qué se va a responder? </a:t>
              </a: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624052" y="4251784"/>
            <a:ext cx="2510927" cy="1350000"/>
            <a:chOff x="1462955" y="2119343"/>
            <a:chExt cx="1656185" cy="1473512"/>
          </a:xfrm>
          <a:solidFill>
            <a:srgbClr val="CED0EA"/>
          </a:solidFill>
        </p:grpSpPr>
        <p:grpSp>
          <p:nvGrpSpPr>
            <p:cNvPr id="20" name="Grupo 19"/>
            <p:cNvGrpSpPr/>
            <p:nvPr/>
          </p:nvGrpSpPr>
          <p:grpSpPr>
            <a:xfrm>
              <a:off x="1462955" y="2119343"/>
              <a:ext cx="1656185" cy="1473512"/>
              <a:chOff x="1763686" y="1940801"/>
              <a:chExt cx="2079181" cy="1800959"/>
            </a:xfrm>
            <a:grpFill/>
          </p:grpSpPr>
          <p:sp>
            <p:nvSpPr>
              <p:cNvPr id="22" name="Rectángulo redondeado 19"/>
              <p:cNvSpPr/>
              <p:nvPr/>
            </p:nvSpPr>
            <p:spPr>
              <a:xfrm>
                <a:off x="1763686" y="1940801"/>
                <a:ext cx="2079181" cy="1800959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Forma libre 22"/>
              <p:cNvSpPr/>
              <p:nvPr/>
            </p:nvSpPr>
            <p:spPr>
              <a:xfrm>
                <a:off x="1774031" y="3565396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CuadroTexto 20"/>
            <p:cNvSpPr txBox="1"/>
            <p:nvPr/>
          </p:nvSpPr>
          <p:spPr>
            <a:xfrm>
              <a:off x="1483895" y="2449603"/>
              <a:ext cx="1554272" cy="571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MS PGothic" panose="020B0600070205080204" pitchFamily="34" charset="-128"/>
                  <a:cs typeface="Arial" panose="020B0604020202020204" pitchFamily="34" charset="0"/>
                </a:rPr>
                <a:t>¿Cómo lo responderemos?</a:t>
              </a:r>
            </a:p>
          </p:txBody>
        </p:sp>
      </p:grpSp>
      <p:grpSp>
        <p:nvGrpSpPr>
          <p:cNvPr id="29" name="Grupo 28"/>
          <p:cNvGrpSpPr/>
          <p:nvPr/>
        </p:nvGrpSpPr>
        <p:grpSpPr>
          <a:xfrm>
            <a:off x="1152179" y="1257501"/>
            <a:ext cx="6754468" cy="360000"/>
            <a:chOff x="991125" y="1257501"/>
            <a:chExt cx="5065851" cy="360000"/>
          </a:xfrm>
        </p:grpSpPr>
        <p:sp>
          <p:nvSpPr>
            <p:cNvPr id="30" name="Datos almacenados 29"/>
            <p:cNvSpPr/>
            <p:nvPr/>
          </p:nvSpPr>
          <p:spPr>
            <a:xfrm flipH="1">
              <a:off x="991125" y="1257501"/>
              <a:ext cx="442510" cy="360000"/>
            </a:xfrm>
            <a:prstGeom prst="flowChartOnlineStorag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1238250" y="1257501"/>
              <a:ext cx="4818726" cy="36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554045" y="2002513"/>
            <a:ext cx="4237280" cy="165293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563948" y="4270275"/>
            <a:ext cx="4237280" cy="1652400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5"/>
          </p:nvPr>
        </p:nvSpPr>
        <p:spPr>
          <a:xfrm>
            <a:off x="1254863" y="1254066"/>
            <a:ext cx="6651772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8236147" y="1254066"/>
            <a:ext cx="3298284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Content Placeholder 2"/>
          <p:cNvSpPr>
            <a:spLocks noGrp="1"/>
          </p:cNvSpPr>
          <p:nvPr>
            <p:ph idx="16"/>
          </p:nvPr>
        </p:nvSpPr>
        <p:spPr>
          <a:xfrm>
            <a:off x="8280472" y="1808748"/>
            <a:ext cx="3253959" cy="28426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7"/>
          </p:nvPr>
        </p:nvSpPr>
        <p:spPr>
          <a:xfrm>
            <a:off x="8261536" y="3949468"/>
            <a:ext cx="3272884" cy="271616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18"/>
          </p:nvPr>
        </p:nvSpPr>
        <p:spPr>
          <a:xfrm>
            <a:off x="8285659" y="2167274"/>
            <a:ext cx="3248768" cy="171872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21"/>
          </p:nvPr>
        </p:nvSpPr>
        <p:spPr>
          <a:xfrm>
            <a:off x="8285661" y="4293096"/>
            <a:ext cx="3248768" cy="1751664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Marcador de posición de imagen 31"/>
          <p:cNvSpPr>
            <a:spLocks noGrp="1"/>
          </p:cNvSpPr>
          <p:nvPr>
            <p:ph type="pic" sz="quarter" idx="20"/>
          </p:nvPr>
        </p:nvSpPr>
        <p:spPr>
          <a:xfrm>
            <a:off x="732379" y="1284313"/>
            <a:ext cx="419100" cy="307975"/>
          </a:xfrm>
        </p:spPr>
        <p:txBody>
          <a:bodyPr/>
          <a:lstStyle>
            <a:lvl1pPr marL="0" indent="0">
              <a:buFontTx/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PE" dirty="0"/>
          </a:p>
        </p:txBody>
      </p:sp>
      <p:sp>
        <p:nvSpPr>
          <p:cNvPr id="45" name="Content Placeholder 2"/>
          <p:cNvSpPr>
            <a:spLocks noGrp="1"/>
          </p:cNvSpPr>
          <p:nvPr>
            <p:ph idx="22"/>
          </p:nvPr>
        </p:nvSpPr>
        <p:spPr>
          <a:xfrm>
            <a:off x="8220867" y="1254066"/>
            <a:ext cx="3298284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46033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cti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20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/>
        </p:nvSpPr>
        <p:spPr>
          <a:xfrm>
            <a:off x="753212" y="1574800"/>
            <a:ext cx="10659867" cy="4419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0" y="297513"/>
            <a:ext cx="9923578" cy="861320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740569" y="1773658"/>
            <a:ext cx="0" cy="422074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732723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8" name="Content Placeholder 2"/>
          <p:cNvSpPr>
            <a:spLocks noGrp="1"/>
          </p:cNvSpPr>
          <p:nvPr>
            <p:ph idx="13"/>
          </p:nvPr>
        </p:nvSpPr>
        <p:spPr>
          <a:xfrm>
            <a:off x="3226967" y="1777361"/>
            <a:ext cx="3792000" cy="408375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14"/>
          </p:nvPr>
        </p:nvSpPr>
        <p:spPr>
          <a:xfrm>
            <a:off x="7334955" y="1777361"/>
            <a:ext cx="3792000" cy="408375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Marcador de posición de imagen 39"/>
          <p:cNvSpPr>
            <a:spLocks noGrp="1"/>
          </p:cNvSpPr>
          <p:nvPr>
            <p:ph type="pic" sz="quarter" idx="15"/>
          </p:nvPr>
        </p:nvSpPr>
        <p:spPr>
          <a:xfrm>
            <a:off x="3227916" y="2387600"/>
            <a:ext cx="3792000" cy="34290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60" name="Marcador de posición de imagen 39"/>
          <p:cNvSpPr>
            <a:spLocks noGrp="1"/>
          </p:cNvSpPr>
          <p:nvPr>
            <p:ph type="pic" sz="quarter" idx="16"/>
          </p:nvPr>
        </p:nvSpPr>
        <p:spPr>
          <a:xfrm>
            <a:off x="7327350" y="2387600"/>
            <a:ext cx="3792000" cy="34290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grpSp>
        <p:nvGrpSpPr>
          <p:cNvPr id="61" name="Grupo 60"/>
          <p:cNvGrpSpPr/>
          <p:nvPr/>
        </p:nvGrpSpPr>
        <p:grpSpPr>
          <a:xfrm>
            <a:off x="645230" y="1811353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62" name="Grupo 61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64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Forma libre 64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3" name="CuadroTexto 62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66" name="Content Placeholder 2"/>
          <p:cNvSpPr>
            <a:spLocks noGrp="1"/>
          </p:cNvSpPr>
          <p:nvPr>
            <p:ph idx="1"/>
          </p:nvPr>
        </p:nvSpPr>
        <p:spPr>
          <a:xfrm>
            <a:off x="842959" y="1934689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97531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ctic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44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/>
        </p:nvSpPr>
        <p:spPr>
          <a:xfrm>
            <a:off x="753212" y="1574800"/>
            <a:ext cx="10659867" cy="4419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90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70" y="301215"/>
            <a:ext cx="9923578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741970" y="1571625"/>
            <a:ext cx="0" cy="422074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5" name="Grupo 44"/>
          <p:cNvGrpSpPr/>
          <p:nvPr/>
        </p:nvGrpSpPr>
        <p:grpSpPr>
          <a:xfrm>
            <a:off x="645230" y="1814528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47" name="Grupo 46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49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orma libre 49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8" name="CuadroTexto 47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57" name="Content Placeholder 2"/>
          <p:cNvSpPr>
            <a:spLocks noGrp="1"/>
          </p:cNvSpPr>
          <p:nvPr>
            <p:ph idx="1"/>
          </p:nvPr>
        </p:nvSpPr>
        <p:spPr>
          <a:xfrm>
            <a:off x="842959" y="1934689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58" name="Content Placeholder 2"/>
          <p:cNvSpPr>
            <a:spLocks noGrp="1"/>
          </p:cNvSpPr>
          <p:nvPr>
            <p:ph idx="13"/>
          </p:nvPr>
        </p:nvSpPr>
        <p:spPr>
          <a:xfrm>
            <a:off x="3159245" y="1680767"/>
            <a:ext cx="3801600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7"/>
          </p:nvPr>
        </p:nvSpPr>
        <p:spPr>
          <a:xfrm>
            <a:off x="7281349" y="1680767"/>
            <a:ext cx="3802663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grpSp>
        <p:nvGrpSpPr>
          <p:cNvPr id="23" name="Grupo 22"/>
          <p:cNvGrpSpPr/>
          <p:nvPr/>
        </p:nvGrpSpPr>
        <p:grpSpPr>
          <a:xfrm>
            <a:off x="645230" y="4097236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24" name="Grupo 23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26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" name="Forma libre 26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CuadroTexto 24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12" name="Rectángulo 11"/>
          <p:cNvSpPr/>
          <p:nvPr/>
        </p:nvSpPr>
        <p:spPr>
          <a:xfrm>
            <a:off x="654967" y="3758831"/>
            <a:ext cx="11147569" cy="99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Content Placeholder 2"/>
          <p:cNvSpPr>
            <a:spLocks noGrp="1"/>
          </p:cNvSpPr>
          <p:nvPr>
            <p:ph idx="19"/>
          </p:nvPr>
        </p:nvSpPr>
        <p:spPr>
          <a:xfrm>
            <a:off x="3159245" y="3916334"/>
            <a:ext cx="3801600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0"/>
          </p:nvPr>
        </p:nvSpPr>
        <p:spPr>
          <a:xfrm>
            <a:off x="7281335" y="3916334"/>
            <a:ext cx="3802664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21"/>
          </p:nvPr>
        </p:nvSpPr>
        <p:spPr>
          <a:xfrm>
            <a:off x="835896" y="4215348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16" name="Marcador de posición de imagen 15"/>
          <p:cNvSpPr>
            <a:spLocks noGrp="1"/>
          </p:cNvSpPr>
          <p:nvPr>
            <p:ph type="pic" sz="quarter" idx="22"/>
          </p:nvPr>
        </p:nvSpPr>
        <p:spPr>
          <a:xfrm>
            <a:off x="3160184" y="2120900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7" name="Marcador de posición de imagen 15"/>
          <p:cNvSpPr>
            <a:spLocks noGrp="1"/>
          </p:cNvSpPr>
          <p:nvPr>
            <p:ph type="pic" sz="quarter" idx="23"/>
          </p:nvPr>
        </p:nvSpPr>
        <p:spPr>
          <a:xfrm>
            <a:off x="7281344" y="210486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8" name="Marcador de posición de imagen 15"/>
          <p:cNvSpPr>
            <a:spLocks noGrp="1"/>
          </p:cNvSpPr>
          <p:nvPr>
            <p:ph type="pic" sz="quarter" idx="24"/>
          </p:nvPr>
        </p:nvSpPr>
        <p:spPr>
          <a:xfrm>
            <a:off x="7275850" y="433722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9" name="Marcador de posición de imagen 15"/>
          <p:cNvSpPr>
            <a:spLocks noGrp="1"/>
          </p:cNvSpPr>
          <p:nvPr>
            <p:ph type="pic" sz="quarter" idx="25"/>
          </p:nvPr>
        </p:nvSpPr>
        <p:spPr>
          <a:xfrm>
            <a:off x="3184952" y="433722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07570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5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" hidden="1"/>
          <p:cNvGraphicFramePr>
            <a:graphicFrameLocks noChangeAspect="1"/>
          </p:cNvGraphicFramePr>
          <p:nvPr/>
        </p:nvGraphicFramePr>
        <p:xfrm>
          <a:off x="1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5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0A9ED6-016A-40BD-BC0C-A24D14D2362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148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dirty="0" smtClean="0"/>
              <a:t>PO3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F276D-F836-45E4-90EB-1FBF172D466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 bwMode="auto">
          <a:xfrm>
            <a:off x="8957733" y="6580189"/>
            <a:ext cx="2844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1A8B0C9-0003-4D95-B5E0-359CE90C296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srgbClr val="0BAADD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srgbClr val="0BAADD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3" name="5 Rectángulo"/>
          <p:cNvSpPr>
            <a:spLocks noChangeArrowheads="1"/>
          </p:cNvSpPr>
          <p:nvPr userDrawn="1"/>
        </p:nvSpPr>
        <p:spPr bwMode="auto">
          <a:xfrm>
            <a:off x="609600" y="4652963"/>
            <a:ext cx="5251451" cy="1655762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srgbClr val="6563C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4" name="6 Rectángulo"/>
          <p:cNvSpPr>
            <a:spLocks noChangeArrowheads="1"/>
          </p:cNvSpPr>
          <p:nvPr userDrawn="1"/>
        </p:nvSpPr>
        <p:spPr bwMode="auto">
          <a:xfrm>
            <a:off x="6146801" y="4652963"/>
            <a:ext cx="5380567" cy="1655762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572E9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</p:txBody>
      </p:sp>
      <p:sp>
        <p:nvSpPr>
          <p:cNvPr id="26" name="4 Rectángulo"/>
          <p:cNvSpPr>
            <a:spLocks noChangeArrowheads="1"/>
          </p:cNvSpPr>
          <p:nvPr userDrawn="1"/>
        </p:nvSpPr>
        <p:spPr bwMode="auto">
          <a:xfrm>
            <a:off x="609601" y="3010239"/>
            <a:ext cx="10917767" cy="1358900"/>
          </a:xfrm>
          <a:prstGeom prst="rect">
            <a:avLst/>
          </a:prstGeom>
          <a:solidFill>
            <a:schemeClr val="accent1">
              <a:lumMod val="40000"/>
              <a:lumOff val="60000"/>
              <a:alpha val="50980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6563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9"/>
          </p:nvPr>
        </p:nvSpPr>
        <p:spPr>
          <a:xfrm>
            <a:off x="665373" y="3030788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0"/>
          </p:nvPr>
        </p:nvSpPr>
        <p:spPr>
          <a:xfrm>
            <a:off x="665373" y="4672534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Content Placeholder 2"/>
          <p:cNvSpPr>
            <a:spLocks noGrp="1"/>
          </p:cNvSpPr>
          <p:nvPr>
            <p:ph idx="21"/>
          </p:nvPr>
        </p:nvSpPr>
        <p:spPr>
          <a:xfrm>
            <a:off x="6204365" y="4674327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22"/>
          </p:nvPr>
        </p:nvSpPr>
        <p:spPr>
          <a:xfrm>
            <a:off x="665373" y="3334618"/>
            <a:ext cx="10795108" cy="948829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23"/>
          </p:nvPr>
        </p:nvSpPr>
        <p:spPr>
          <a:xfrm>
            <a:off x="665373" y="4976364"/>
            <a:ext cx="5152799" cy="125324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4 Rectángulo"/>
          <p:cNvSpPr>
            <a:spLocks noChangeArrowheads="1"/>
          </p:cNvSpPr>
          <p:nvPr userDrawn="1"/>
        </p:nvSpPr>
        <p:spPr bwMode="auto">
          <a:xfrm>
            <a:off x="609601" y="1367515"/>
            <a:ext cx="10917767" cy="1358900"/>
          </a:xfrm>
          <a:prstGeom prst="rect">
            <a:avLst/>
          </a:prstGeom>
          <a:solidFill>
            <a:schemeClr val="accent1">
              <a:lumMod val="60000"/>
              <a:lumOff val="40000"/>
              <a:alpha val="50980"/>
            </a:scheme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6563C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4"/>
          </p:nvPr>
        </p:nvSpPr>
        <p:spPr>
          <a:xfrm>
            <a:off x="665373" y="1391578"/>
            <a:ext cx="3253959" cy="284261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5"/>
          </p:nvPr>
        </p:nvSpPr>
        <p:spPr>
          <a:xfrm>
            <a:off x="665373" y="1695409"/>
            <a:ext cx="10795108" cy="94882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idx="26"/>
          </p:nvPr>
        </p:nvSpPr>
        <p:spPr>
          <a:xfrm>
            <a:off x="6204364" y="4963789"/>
            <a:ext cx="5268259" cy="1253248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97905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dice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23422" y="1340769"/>
            <a:ext cx="7336063" cy="4971131"/>
          </a:xfrm>
        </p:spPr>
        <p:txBody>
          <a:bodyPr/>
          <a:lstStyle>
            <a:lvl1pPr marL="0" indent="363538">
              <a:lnSpc>
                <a:spcPct val="150000"/>
              </a:lnSpc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8" name="Rectángulo 7"/>
          <p:cNvSpPr/>
          <p:nvPr userDrawn="1"/>
        </p:nvSpPr>
        <p:spPr>
          <a:xfrm>
            <a:off x="10351145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631979" y="1256740"/>
            <a:ext cx="2269067" cy="1236156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s-PE" dirty="0" err="1" smtClean="0"/>
              <a:t>Indice</a:t>
            </a:r>
            <a:r>
              <a:rPr lang="es-PE" dirty="0" smtClean="0"/>
              <a:t>//Agenda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4094852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92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7"/>
          <p:cNvSpPr/>
          <p:nvPr userDrawn="1"/>
        </p:nvSpPr>
        <p:spPr>
          <a:xfrm>
            <a:off x="10351145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69" y="301215"/>
            <a:ext cx="9923577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70419" y="6604620"/>
            <a:ext cx="1921933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8484" y="6604620"/>
            <a:ext cx="3860800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604620"/>
            <a:ext cx="521957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964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ulo + Sub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16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ángulo 7"/>
          <p:cNvSpPr/>
          <p:nvPr userDrawn="1"/>
        </p:nvSpPr>
        <p:spPr>
          <a:xfrm>
            <a:off x="10351145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69" y="301215"/>
            <a:ext cx="9923577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70419" y="6604620"/>
            <a:ext cx="1921933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8484" y="6604620"/>
            <a:ext cx="3860800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604620"/>
            <a:ext cx="521957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65ECA8-96AB-470B-828D-76F5456731BE}" type="slidenum">
              <a:rPr kumimoji="0" lang="en-US" altLang="es-P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8" y="793118"/>
            <a:ext cx="9923577" cy="576262"/>
          </a:xfrm>
        </p:spPr>
        <p:txBody>
          <a:bodyPr/>
          <a:lstStyle>
            <a:lvl1pPr marL="0" indent="0">
              <a:buFontTx/>
              <a:buNone/>
              <a:defRPr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s-PE" dirty="0" smtClean="0"/>
              <a:t>Subtítulo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595402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sumen Mensajes/Pregun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40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ángulo 7"/>
          <p:cNvSpPr/>
          <p:nvPr userDrawn="1"/>
        </p:nvSpPr>
        <p:spPr>
          <a:xfrm>
            <a:off x="10351145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BE7C8-50EE-4BFD-A2D3-3A8BB0FF1D3C}" type="slidenum">
              <a:rPr kumimoji="0" lang="en-US" altLang="es-P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ángulo redondeado 11"/>
          <p:cNvSpPr/>
          <p:nvPr userDrawn="1"/>
        </p:nvSpPr>
        <p:spPr>
          <a:xfrm>
            <a:off x="827619" y="1741065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ángulo redondeado 13"/>
          <p:cNvSpPr/>
          <p:nvPr userDrawn="1"/>
        </p:nvSpPr>
        <p:spPr>
          <a:xfrm>
            <a:off x="827619" y="2568872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ángulo redondeado 15"/>
          <p:cNvSpPr/>
          <p:nvPr userDrawn="1"/>
        </p:nvSpPr>
        <p:spPr>
          <a:xfrm>
            <a:off x="827619" y="3396678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ángulo redondeado 17"/>
          <p:cNvSpPr/>
          <p:nvPr userDrawn="1"/>
        </p:nvSpPr>
        <p:spPr>
          <a:xfrm>
            <a:off x="827619" y="4224484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ángulo redondeado 19"/>
          <p:cNvSpPr/>
          <p:nvPr userDrawn="1"/>
        </p:nvSpPr>
        <p:spPr>
          <a:xfrm>
            <a:off x="827619" y="5052291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7618" y="1741795"/>
            <a:ext cx="503767" cy="390054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29" name="Marcador de texto 13"/>
          <p:cNvSpPr>
            <a:spLocks noGrp="1"/>
          </p:cNvSpPr>
          <p:nvPr>
            <p:ph type="body" sz="quarter" idx="23" hasCustomPrompt="1"/>
          </p:nvPr>
        </p:nvSpPr>
        <p:spPr>
          <a:xfrm>
            <a:off x="827619" y="2581102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0" name="Marcador de texto 13"/>
          <p:cNvSpPr>
            <a:spLocks noGrp="1"/>
          </p:cNvSpPr>
          <p:nvPr>
            <p:ph type="body" sz="quarter" idx="24" hasCustomPrompt="1"/>
          </p:nvPr>
        </p:nvSpPr>
        <p:spPr>
          <a:xfrm>
            <a:off x="827619" y="3400515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1" name="Marcador de texto 13"/>
          <p:cNvSpPr>
            <a:spLocks noGrp="1"/>
          </p:cNvSpPr>
          <p:nvPr>
            <p:ph type="body" sz="quarter" idx="25" hasCustomPrompt="1"/>
          </p:nvPr>
        </p:nvSpPr>
        <p:spPr>
          <a:xfrm>
            <a:off x="827619" y="4230599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2" name="Marcador de texto 13"/>
          <p:cNvSpPr>
            <a:spLocks noGrp="1"/>
          </p:cNvSpPr>
          <p:nvPr>
            <p:ph type="body" sz="quarter" idx="26" hasCustomPrompt="1"/>
          </p:nvPr>
        </p:nvSpPr>
        <p:spPr>
          <a:xfrm>
            <a:off x="827619" y="5064521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427569" y="301214"/>
            <a:ext cx="9923577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dirty="0" smtClean="0"/>
              <a:t>Mensajes/Preguntas</a:t>
            </a:r>
            <a:endParaRPr lang="en-US" dirty="0"/>
          </a:p>
        </p:txBody>
      </p:sp>
      <p:sp>
        <p:nvSpPr>
          <p:cNvPr id="40" name="Content Placeholder 2"/>
          <p:cNvSpPr>
            <a:spLocks noGrp="1"/>
          </p:cNvSpPr>
          <p:nvPr>
            <p:ph idx="1"/>
          </p:nvPr>
        </p:nvSpPr>
        <p:spPr>
          <a:xfrm>
            <a:off x="1487484" y="1697315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32"/>
          </p:nvPr>
        </p:nvSpPr>
        <p:spPr>
          <a:xfrm>
            <a:off x="1487488" y="2528020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33"/>
          </p:nvPr>
        </p:nvSpPr>
        <p:spPr>
          <a:xfrm>
            <a:off x="1487484" y="3358725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34"/>
          </p:nvPr>
        </p:nvSpPr>
        <p:spPr>
          <a:xfrm>
            <a:off x="1487488" y="4173888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35"/>
          </p:nvPr>
        </p:nvSpPr>
        <p:spPr>
          <a:xfrm>
            <a:off x="1487484" y="5004593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905249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ensajes/Pregun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64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/>
          <p:cNvSpPr/>
          <p:nvPr userDrawn="1"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435" y="301214"/>
            <a:ext cx="9343711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BE7C8-50EE-4BFD-A2D3-3A8BB0FF1D3C}" type="slidenum">
              <a:rPr kumimoji="0" lang="en-US" altLang="es-P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6"/>
          <p:cNvSpPr/>
          <p:nvPr userDrawn="1"/>
        </p:nvSpPr>
        <p:spPr>
          <a:xfrm>
            <a:off x="395001" y="374650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406641" y="386880"/>
            <a:ext cx="480484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866374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sumen Mensajes/Pregun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4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ángulo 7"/>
          <p:cNvSpPr/>
          <p:nvPr/>
        </p:nvSpPr>
        <p:spPr>
          <a:xfrm>
            <a:off x="10351145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sp>
        <p:nvSpPr>
          <p:cNvPr id="12" name="Rectángulo redondeado 11"/>
          <p:cNvSpPr/>
          <p:nvPr/>
        </p:nvSpPr>
        <p:spPr>
          <a:xfrm>
            <a:off x="827619" y="1741065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4" name="Rectángulo redondeado 13"/>
          <p:cNvSpPr/>
          <p:nvPr/>
        </p:nvSpPr>
        <p:spPr>
          <a:xfrm>
            <a:off x="827619" y="2568872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6" name="Rectángulo redondeado 15"/>
          <p:cNvSpPr/>
          <p:nvPr/>
        </p:nvSpPr>
        <p:spPr>
          <a:xfrm>
            <a:off x="827619" y="3396678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8" name="Rectángulo redondeado 17"/>
          <p:cNvSpPr/>
          <p:nvPr/>
        </p:nvSpPr>
        <p:spPr>
          <a:xfrm>
            <a:off x="827619" y="4224484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0" name="Rectángulo redondeado 19"/>
          <p:cNvSpPr/>
          <p:nvPr/>
        </p:nvSpPr>
        <p:spPr>
          <a:xfrm>
            <a:off x="827619" y="5052291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8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7618" y="1741795"/>
            <a:ext cx="503767" cy="390054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29" name="Marcador de texto 13"/>
          <p:cNvSpPr>
            <a:spLocks noGrp="1"/>
          </p:cNvSpPr>
          <p:nvPr>
            <p:ph type="body" sz="quarter" idx="23" hasCustomPrompt="1"/>
          </p:nvPr>
        </p:nvSpPr>
        <p:spPr>
          <a:xfrm>
            <a:off x="827619" y="2581102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0" name="Marcador de texto 13"/>
          <p:cNvSpPr>
            <a:spLocks noGrp="1"/>
          </p:cNvSpPr>
          <p:nvPr>
            <p:ph type="body" sz="quarter" idx="24" hasCustomPrompt="1"/>
          </p:nvPr>
        </p:nvSpPr>
        <p:spPr>
          <a:xfrm>
            <a:off x="827619" y="3400515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1" name="Marcador de texto 13"/>
          <p:cNvSpPr>
            <a:spLocks noGrp="1"/>
          </p:cNvSpPr>
          <p:nvPr>
            <p:ph type="body" sz="quarter" idx="25" hasCustomPrompt="1"/>
          </p:nvPr>
        </p:nvSpPr>
        <p:spPr>
          <a:xfrm>
            <a:off x="827619" y="4230599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2" name="Marcador de texto 13"/>
          <p:cNvSpPr>
            <a:spLocks noGrp="1"/>
          </p:cNvSpPr>
          <p:nvPr>
            <p:ph type="body" sz="quarter" idx="26" hasCustomPrompt="1"/>
          </p:nvPr>
        </p:nvSpPr>
        <p:spPr>
          <a:xfrm>
            <a:off x="827619" y="5064521"/>
            <a:ext cx="503767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427569" y="301214"/>
            <a:ext cx="9923577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dirty="0" smtClean="0"/>
              <a:t>Mensajes/Preguntas</a:t>
            </a:r>
            <a:endParaRPr lang="en-US" dirty="0"/>
          </a:p>
        </p:txBody>
      </p:sp>
      <p:sp>
        <p:nvSpPr>
          <p:cNvPr id="40" name="Content Placeholder 2"/>
          <p:cNvSpPr>
            <a:spLocks noGrp="1"/>
          </p:cNvSpPr>
          <p:nvPr>
            <p:ph idx="1"/>
          </p:nvPr>
        </p:nvSpPr>
        <p:spPr>
          <a:xfrm>
            <a:off x="1487484" y="1697315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32"/>
          </p:nvPr>
        </p:nvSpPr>
        <p:spPr>
          <a:xfrm>
            <a:off x="1487488" y="2528020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33"/>
          </p:nvPr>
        </p:nvSpPr>
        <p:spPr>
          <a:xfrm>
            <a:off x="1487484" y="3358725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34"/>
          </p:nvPr>
        </p:nvSpPr>
        <p:spPr>
          <a:xfrm>
            <a:off x="1487488" y="4173888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35"/>
          </p:nvPr>
        </p:nvSpPr>
        <p:spPr>
          <a:xfrm>
            <a:off x="1487484" y="5004593"/>
            <a:ext cx="8863661" cy="390054"/>
          </a:xfrm>
        </p:spPr>
        <p:txBody>
          <a:bodyPr anchor="ctr"/>
          <a:lstStyle>
            <a:lvl1pPr marL="0" indent="0">
              <a:lnSpc>
                <a:spcPct val="150000"/>
              </a:lnSpc>
              <a:buFontTx/>
              <a:buNone/>
              <a:defRPr sz="15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93490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con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8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/>
          <p:cNvSpPr/>
          <p:nvPr userDrawn="1"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4" y="301214"/>
            <a:ext cx="9535732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5414" y="1484784"/>
            <a:ext cx="10987121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9BE7C8-50EE-4BFD-A2D3-3A8BB0FF1D3C}" type="slidenum">
              <a:rPr kumimoji="0" lang="en-US" altLang="es-P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13" hasCustomPrompt="1"/>
          </p:nvPr>
        </p:nvSpPr>
        <p:spPr>
          <a:xfrm>
            <a:off x="171079" y="111125"/>
            <a:ext cx="442003" cy="6386494"/>
          </a:xfrm>
          <a:solidFill>
            <a:schemeClr val="accent1"/>
          </a:solidFill>
        </p:spPr>
        <p:txBody>
          <a:bodyPr vert="horz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  <a:lvl4pPr marL="1371600" indent="0" algn="ctr">
              <a:buFontTx/>
              <a:buNone/>
              <a:defRPr/>
            </a:lvl4pPr>
            <a:lvl5pPr marL="1828800" indent="0" algn="ctr">
              <a:buFontTx/>
              <a:buNone/>
              <a:defRPr/>
            </a:lvl5pPr>
          </a:lstStyle>
          <a:p>
            <a:pPr lvl="0"/>
            <a:r>
              <a:rPr lang="es-PE" dirty="0" smtClean="0"/>
              <a:t>CATEGORIA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055291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scripcion Pil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12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n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 userDrawn="1"/>
        </p:nvCxnSpPr>
        <p:spPr>
          <a:xfrm>
            <a:off x="733503" y="1773660"/>
            <a:ext cx="0" cy="449651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 userDrawn="1"/>
        </p:nvCxnSpPr>
        <p:spPr>
          <a:xfrm>
            <a:off x="732710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Conector recto 11"/>
          <p:cNvCxnSpPr/>
          <p:nvPr userDrawn="1"/>
        </p:nvCxnSpPr>
        <p:spPr>
          <a:xfrm>
            <a:off x="1152168" y="3200113"/>
            <a:ext cx="65287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Conector recto 12"/>
          <p:cNvCxnSpPr/>
          <p:nvPr userDrawn="1"/>
        </p:nvCxnSpPr>
        <p:spPr>
          <a:xfrm>
            <a:off x="1152168" y="4705876"/>
            <a:ext cx="65287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4" name="Grupo 13"/>
          <p:cNvGrpSpPr/>
          <p:nvPr userDrawn="1"/>
        </p:nvGrpSpPr>
        <p:grpSpPr>
          <a:xfrm>
            <a:off x="624049" y="1893130"/>
            <a:ext cx="2640000" cy="1080000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15" name="Grupo 14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17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Forma libre 17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CuadroTexto 15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¿Qué se va a responder? </a:t>
              </a: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" name="Grupo 18"/>
          <p:cNvGrpSpPr/>
          <p:nvPr userDrawn="1"/>
        </p:nvGrpSpPr>
        <p:grpSpPr>
          <a:xfrm>
            <a:off x="624049" y="3362784"/>
            <a:ext cx="2640000" cy="1080000"/>
            <a:chOff x="1462955" y="2119343"/>
            <a:chExt cx="1656185" cy="1473512"/>
          </a:xfrm>
          <a:solidFill>
            <a:srgbClr val="CED0EA"/>
          </a:solidFill>
        </p:grpSpPr>
        <p:grpSp>
          <p:nvGrpSpPr>
            <p:cNvPr id="20" name="Grupo 19"/>
            <p:cNvGrpSpPr/>
            <p:nvPr/>
          </p:nvGrpSpPr>
          <p:grpSpPr>
            <a:xfrm>
              <a:off x="1462955" y="2119343"/>
              <a:ext cx="1656185" cy="1473512"/>
              <a:chOff x="1763686" y="1940801"/>
              <a:chExt cx="2079181" cy="1800959"/>
            </a:xfrm>
            <a:grpFill/>
          </p:grpSpPr>
          <p:sp>
            <p:nvSpPr>
              <p:cNvPr id="22" name="Rectángulo redondeado 19"/>
              <p:cNvSpPr/>
              <p:nvPr/>
            </p:nvSpPr>
            <p:spPr>
              <a:xfrm>
                <a:off x="1763686" y="1940801"/>
                <a:ext cx="2079181" cy="1800959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Forma libre 22"/>
              <p:cNvSpPr/>
              <p:nvPr/>
            </p:nvSpPr>
            <p:spPr>
              <a:xfrm>
                <a:off x="1774031" y="3565396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CuadroTexto 20"/>
            <p:cNvSpPr txBox="1"/>
            <p:nvPr/>
          </p:nvSpPr>
          <p:spPr>
            <a:xfrm>
              <a:off x="1483895" y="2378216"/>
              <a:ext cx="1554272" cy="7138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¿</a:t>
              </a:r>
              <a:r>
                <a:rPr kumimoji="0" lang="es-PE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ómo lo </a:t>
              </a: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sponderemos?</a:t>
              </a:r>
            </a:p>
          </p:txBody>
        </p:sp>
      </p:grpSp>
      <p:grpSp>
        <p:nvGrpSpPr>
          <p:cNvPr id="24" name="Grupo 23"/>
          <p:cNvGrpSpPr/>
          <p:nvPr userDrawn="1"/>
        </p:nvGrpSpPr>
        <p:grpSpPr>
          <a:xfrm>
            <a:off x="621023" y="4839939"/>
            <a:ext cx="2640000" cy="1080000"/>
            <a:chOff x="1462955" y="2117750"/>
            <a:chExt cx="1656185" cy="1395618"/>
          </a:xfrm>
          <a:solidFill>
            <a:srgbClr val="BFB7E3"/>
          </a:solidFill>
        </p:grpSpPr>
        <p:grpSp>
          <p:nvGrpSpPr>
            <p:cNvPr id="25" name="Grupo 24"/>
            <p:cNvGrpSpPr/>
            <p:nvPr/>
          </p:nvGrpSpPr>
          <p:grpSpPr>
            <a:xfrm>
              <a:off x="1462955" y="2117750"/>
              <a:ext cx="1656185" cy="1395618"/>
              <a:chOff x="1763686" y="1938853"/>
              <a:chExt cx="2079181" cy="1705755"/>
            </a:xfrm>
            <a:grpFill/>
          </p:grpSpPr>
          <p:sp>
            <p:nvSpPr>
              <p:cNvPr id="27" name="Rectángulo redondeado 19"/>
              <p:cNvSpPr/>
              <p:nvPr/>
            </p:nvSpPr>
            <p:spPr>
              <a:xfrm>
                <a:off x="1763686" y="1938853"/>
                <a:ext cx="2079181" cy="1705755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rgbClr val="9289C9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" name="Forma libre 27"/>
              <p:cNvSpPr/>
              <p:nvPr/>
            </p:nvSpPr>
            <p:spPr>
              <a:xfrm>
                <a:off x="1776768" y="3478883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rgbClr val="9289C9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6" name="CuadroTexto 25"/>
            <p:cNvSpPr txBox="1"/>
            <p:nvPr/>
          </p:nvSpPr>
          <p:spPr>
            <a:xfrm>
              <a:off x="1483896" y="2374524"/>
              <a:ext cx="1554272" cy="6761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¿Qué mejoras se han </a:t>
              </a:r>
              <a:r>
                <a:rPr kumimoji="0" lang="es-PE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corporado?</a:t>
              </a: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" name="Grupo 28"/>
          <p:cNvGrpSpPr/>
          <p:nvPr userDrawn="1"/>
        </p:nvGrpSpPr>
        <p:grpSpPr>
          <a:xfrm>
            <a:off x="1152167" y="1257501"/>
            <a:ext cx="6754468" cy="360000"/>
            <a:chOff x="991125" y="1257501"/>
            <a:chExt cx="5065851" cy="360000"/>
          </a:xfrm>
        </p:grpSpPr>
        <p:sp>
          <p:nvSpPr>
            <p:cNvPr id="30" name="Datos almacenados 29"/>
            <p:cNvSpPr/>
            <p:nvPr/>
          </p:nvSpPr>
          <p:spPr>
            <a:xfrm flipH="1">
              <a:off x="991125" y="1257501"/>
              <a:ext cx="442510" cy="360000"/>
            </a:xfrm>
            <a:prstGeom prst="flowChartOnlineStorag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1238250" y="1257501"/>
              <a:ext cx="4818726" cy="36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554045" y="1875513"/>
            <a:ext cx="4237280" cy="1168442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563948" y="3381275"/>
            <a:ext cx="4237280" cy="1168442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14"/>
          </p:nvPr>
        </p:nvSpPr>
        <p:spPr>
          <a:xfrm>
            <a:off x="3554045" y="4859858"/>
            <a:ext cx="4237280" cy="1168442"/>
          </a:xfrm>
        </p:spPr>
        <p:txBody>
          <a:bodyPr/>
          <a:lstStyle>
            <a:lvl1pPr marL="0" indent="363538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5"/>
          </p:nvPr>
        </p:nvSpPr>
        <p:spPr>
          <a:xfrm>
            <a:off x="1254863" y="1254066"/>
            <a:ext cx="6651772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Rectángulo 38"/>
          <p:cNvSpPr/>
          <p:nvPr userDrawn="1"/>
        </p:nvSpPr>
        <p:spPr>
          <a:xfrm>
            <a:off x="8236134" y="1254066"/>
            <a:ext cx="3298284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Content Placeholder 2"/>
          <p:cNvSpPr>
            <a:spLocks noGrp="1"/>
          </p:cNvSpPr>
          <p:nvPr>
            <p:ph idx="16"/>
          </p:nvPr>
        </p:nvSpPr>
        <p:spPr>
          <a:xfrm>
            <a:off x="8280459" y="1808745"/>
            <a:ext cx="3253959" cy="28426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17"/>
          </p:nvPr>
        </p:nvSpPr>
        <p:spPr>
          <a:xfrm>
            <a:off x="8261534" y="3949468"/>
            <a:ext cx="3272884" cy="271616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18"/>
          </p:nvPr>
        </p:nvSpPr>
        <p:spPr>
          <a:xfrm>
            <a:off x="8285648" y="2167274"/>
            <a:ext cx="3248768" cy="171872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2" name="Marcador de posición de imagen 31"/>
          <p:cNvSpPr>
            <a:spLocks noGrp="1"/>
          </p:cNvSpPr>
          <p:nvPr>
            <p:ph type="pic" sz="quarter" idx="20"/>
          </p:nvPr>
        </p:nvSpPr>
        <p:spPr>
          <a:xfrm>
            <a:off x="732367" y="1284288"/>
            <a:ext cx="419100" cy="307975"/>
          </a:xfrm>
        </p:spPr>
        <p:txBody>
          <a:bodyPr/>
          <a:lstStyle>
            <a:lvl1pPr marL="0" indent="0">
              <a:buFontTx/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PE" dirty="0"/>
          </a:p>
        </p:txBody>
      </p:sp>
      <p:sp>
        <p:nvSpPr>
          <p:cNvPr id="47" name="Title 1"/>
          <p:cNvSpPr>
            <a:spLocks noGrp="1"/>
          </p:cNvSpPr>
          <p:nvPr>
            <p:ph type="title"/>
          </p:nvPr>
        </p:nvSpPr>
        <p:spPr>
          <a:xfrm>
            <a:off x="427569" y="301215"/>
            <a:ext cx="9923577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8" name="Content Placeholder 2"/>
          <p:cNvSpPr>
            <a:spLocks noGrp="1"/>
          </p:cNvSpPr>
          <p:nvPr>
            <p:ph idx="21"/>
          </p:nvPr>
        </p:nvSpPr>
        <p:spPr>
          <a:xfrm>
            <a:off x="8285649" y="4293096"/>
            <a:ext cx="3248768" cy="1751664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9" name="Content Placeholder 2"/>
          <p:cNvSpPr>
            <a:spLocks noGrp="1"/>
          </p:cNvSpPr>
          <p:nvPr>
            <p:ph idx="22"/>
          </p:nvPr>
        </p:nvSpPr>
        <p:spPr>
          <a:xfrm>
            <a:off x="8220854" y="1254066"/>
            <a:ext cx="3298284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08739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scripcion Pil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36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 userDrawn="1"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69" y="301215"/>
            <a:ext cx="9923577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 userDrawn="1"/>
        </p:nvCxnSpPr>
        <p:spPr>
          <a:xfrm>
            <a:off x="733503" y="1773660"/>
            <a:ext cx="0" cy="449651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 userDrawn="1"/>
        </p:nvCxnSpPr>
        <p:spPr>
          <a:xfrm>
            <a:off x="732710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Conector recto 11"/>
          <p:cNvCxnSpPr/>
          <p:nvPr userDrawn="1"/>
        </p:nvCxnSpPr>
        <p:spPr>
          <a:xfrm>
            <a:off x="1152168" y="3936919"/>
            <a:ext cx="65287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Conector recto 12"/>
          <p:cNvCxnSpPr/>
          <p:nvPr userDrawn="1"/>
        </p:nvCxnSpPr>
        <p:spPr>
          <a:xfrm>
            <a:off x="1160116" y="6136776"/>
            <a:ext cx="65287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4" name="Grupo 13"/>
          <p:cNvGrpSpPr/>
          <p:nvPr userDrawn="1"/>
        </p:nvGrpSpPr>
        <p:grpSpPr>
          <a:xfrm>
            <a:off x="624051" y="2020130"/>
            <a:ext cx="2508463" cy="135064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15" name="Grupo 14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17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Forma libre 17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6" name="CuadroTexto 15"/>
            <p:cNvSpPr txBox="1"/>
            <p:nvPr/>
          </p:nvSpPr>
          <p:spPr>
            <a:xfrm>
              <a:off x="1482349" y="2563318"/>
              <a:ext cx="1554272" cy="5982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¿Qué se va a responder? </a:t>
              </a: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" name="Grupo 18"/>
          <p:cNvGrpSpPr/>
          <p:nvPr userDrawn="1"/>
        </p:nvGrpSpPr>
        <p:grpSpPr>
          <a:xfrm>
            <a:off x="624051" y="4251784"/>
            <a:ext cx="2510927" cy="1350000"/>
            <a:chOff x="1462955" y="2119343"/>
            <a:chExt cx="1656185" cy="1473512"/>
          </a:xfrm>
          <a:solidFill>
            <a:srgbClr val="CED0EA"/>
          </a:solidFill>
        </p:grpSpPr>
        <p:grpSp>
          <p:nvGrpSpPr>
            <p:cNvPr id="20" name="Grupo 19"/>
            <p:cNvGrpSpPr/>
            <p:nvPr/>
          </p:nvGrpSpPr>
          <p:grpSpPr>
            <a:xfrm>
              <a:off x="1462955" y="2119343"/>
              <a:ext cx="1656185" cy="1473512"/>
              <a:chOff x="1763686" y="1940801"/>
              <a:chExt cx="2079181" cy="1800959"/>
            </a:xfrm>
            <a:grpFill/>
          </p:grpSpPr>
          <p:sp>
            <p:nvSpPr>
              <p:cNvPr id="22" name="Rectángulo redondeado 19"/>
              <p:cNvSpPr/>
              <p:nvPr/>
            </p:nvSpPr>
            <p:spPr>
              <a:xfrm>
                <a:off x="1763686" y="1940801"/>
                <a:ext cx="2079181" cy="1800959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Forma libre 22"/>
              <p:cNvSpPr/>
              <p:nvPr/>
            </p:nvSpPr>
            <p:spPr>
              <a:xfrm>
                <a:off x="1774031" y="3565396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CuadroTexto 20"/>
            <p:cNvSpPr txBox="1"/>
            <p:nvPr/>
          </p:nvSpPr>
          <p:spPr>
            <a:xfrm>
              <a:off x="1483895" y="2449603"/>
              <a:ext cx="1554272" cy="571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¿</a:t>
              </a:r>
              <a:r>
                <a:rPr kumimoji="0" lang="es-PE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ómo lo </a:t>
              </a:r>
              <a:r>
                <a:rPr kumimoji="0" lang="es-P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sponderemos?</a:t>
              </a:r>
            </a:p>
          </p:txBody>
        </p:sp>
      </p:grpSp>
      <p:grpSp>
        <p:nvGrpSpPr>
          <p:cNvPr id="29" name="Grupo 28"/>
          <p:cNvGrpSpPr/>
          <p:nvPr userDrawn="1"/>
        </p:nvGrpSpPr>
        <p:grpSpPr>
          <a:xfrm>
            <a:off x="1152167" y="1257501"/>
            <a:ext cx="6754468" cy="360000"/>
            <a:chOff x="991125" y="1257501"/>
            <a:chExt cx="5065851" cy="360000"/>
          </a:xfrm>
        </p:grpSpPr>
        <p:sp>
          <p:nvSpPr>
            <p:cNvPr id="30" name="Datos almacenados 29"/>
            <p:cNvSpPr/>
            <p:nvPr/>
          </p:nvSpPr>
          <p:spPr>
            <a:xfrm flipH="1">
              <a:off x="991125" y="1257501"/>
              <a:ext cx="442510" cy="360000"/>
            </a:xfrm>
            <a:prstGeom prst="flowChartOnlineStorag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1238250" y="1257501"/>
              <a:ext cx="4818726" cy="3600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554045" y="2002513"/>
            <a:ext cx="4237280" cy="1652936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563948" y="4270275"/>
            <a:ext cx="4237280" cy="1652400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5"/>
          </p:nvPr>
        </p:nvSpPr>
        <p:spPr>
          <a:xfrm>
            <a:off x="1254863" y="1254066"/>
            <a:ext cx="6651772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8236134" y="1254066"/>
            <a:ext cx="3298284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Content Placeholder 2"/>
          <p:cNvSpPr>
            <a:spLocks noGrp="1"/>
          </p:cNvSpPr>
          <p:nvPr>
            <p:ph idx="16"/>
          </p:nvPr>
        </p:nvSpPr>
        <p:spPr>
          <a:xfrm>
            <a:off x="8280459" y="1808745"/>
            <a:ext cx="3253959" cy="28426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7"/>
          </p:nvPr>
        </p:nvSpPr>
        <p:spPr>
          <a:xfrm>
            <a:off x="8261534" y="3949468"/>
            <a:ext cx="3272884" cy="271616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18"/>
          </p:nvPr>
        </p:nvSpPr>
        <p:spPr>
          <a:xfrm>
            <a:off x="8285648" y="2167274"/>
            <a:ext cx="3248768" cy="171872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21"/>
          </p:nvPr>
        </p:nvSpPr>
        <p:spPr>
          <a:xfrm>
            <a:off x="8285649" y="4293096"/>
            <a:ext cx="3248768" cy="1751664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2" name="Marcador de posición de imagen 31"/>
          <p:cNvSpPr>
            <a:spLocks noGrp="1"/>
          </p:cNvSpPr>
          <p:nvPr>
            <p:ph type="pic" sz="quarter" idx="20"/>
          </p:nvPr>
        </p:nvSpPr>
        <p:spPr>
          <a:xfrm>
            <a:off x="732367" y="1284288"/>
            <a:ext cx="419100" cy="307975"/>
          </a:xfrm>
        </p:spPr>
        <p:txBody>
          <a:bodyPr/>
          <a:lstStyle>
            <a:lvl1pPr marL="0" indent="0">
              <a:buFontTx/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PE" dirty="0"/>
          </a:p>
        </p:txBody>
      </p:sp>
      <p:sp>
        <p:nvSpPr>
          <p:cNvPr id="45" name="Content Placeholder 2"/>
          <p:cNvSpPr>
            <a:spLocks noGrp="1"/>
          </p:cNvSpPr>
          <p:nvPr>
            <p:ph idx="22"/>
          </p:nvPr>
        </p:nvSpPr>
        <p:spPr>
          <a:xfrm>
            <a:off x="8220854" y="1254066"/>
            <a:ext cx="3298284" cy="357152"/>
          </a:xfrm>
        </p:spPr>
        <p:txBody>
          <a:bodyPr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39727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ctic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60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 userDrawn="1"/>
        </p:nvSpPr>
        <p:spPr>
          <a:xfrm>
            <a:off x="753201" y="1574800"/>
            <a:ext cx="10659867" cy="4419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 userDrawn="1"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69" y="297513"/>
            <a:ext cx="9923577" cy="861320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 userDrawn="1"/>
        </p:nvCxnSpPr>
        <p:spPr>
          <a:xfrm>
            <a:off x="740569" y="1773658"/>
            <a:ext cx="0" cy="422074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 userDrawn="1"/>
        </p:nvCxnSpPr>
        <p:spPr>
          <a:xfrm>
            <a:off x="732710" y="1773658"/>
            <a:ext cx="71739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8" name="Content Placeholder 2"/>
          <p:cNvSpPr>
            <a:spLocks noGrp="1"/>
          </p:cNvSpPr>
          <p:nvPr>
            <p:ph idx="13"/>
          </p:nvPr>
        </p:nvSpPr>
        <p:spPr>
          <a:xfrm>
            <a:off x="3226967" y="1777361"/>
            <a:ext cx="3792000" cy="408375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14"/>
          </p:nvPr>
        </p:nvSpPr>
        <p:spPr>
          <a:xfrm>
            <a:off x="7334955" y="1777361"/>
            <a:ext cx="3792000" cy="408375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40" name="Marcador de posición de imagen 39"/>
          <p:cNvSpPr>
            <a:spLocks noGrp="1"/>
          </p:cNvSpPr>
          <p:nvPr>
            <p:ph type="pic" sz="quarter" idx="15"/>
          </p:nvPr>
        </p:nvSpPr>
        <p:spPr>
          <a:xfrm>
            <a:off x="3227916" y="2387600"/>
            <a:ext cx="3792000" cy="34290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60" name="Marcador de posición de imagen 39"/>
          <p:cNvSpPr>
            <a:spLocks noGrp="1"/>
          </p:cNvSpPr>
          <p:nvPr>
            <p:ph type="pic" sz="quarter" idx="16"/>
          </p:nvPr>
        </p:nvSpPr>
        <p:spPr>
          <a:xfrm>
            <a:off x="7327349" y="2387600"/>
            <a:ext cx="3792000" cy="34290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grpSp>
        <p:nvGrpSpPr>
          <p:cNvPr id="61" name="Grupo 60"/>
          <p:cNvGrpSpPr/>
          <p:nvPr userDrawn="1"/>
        </p:nvGrpSpPr>
        <p:grpSpPr>
          <a:xfrm>
            <a:off x="645218" y="1811353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62" name="Grupo 61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64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Forma libre 64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3" name="CuadroTexto 62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66" name="Content Placeholder 2"/>
          <p:cNvSpPr>
            <a:spLocks noGrp="1"/>
          </p:cNvSpPr>
          <p:nvPr>
            <p:ph idx="1"/>
          </p:nvPr>
        </p:nvSpPr>
        <p:spPr>
          <a:xfrm>
            <a:off x="842957" y="1934674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40504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ctic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84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 userDrawn="1"/>
        </p:nvSpPr>
        <p:spPr>
          <a:xfrm>
            <a:off x="753201" y="1574800"/>
            <a:ext cx="10659867" cy="4419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 userDrawn="1"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569" y="301215"/>
            <a:ext cx="9923577" cy="857618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5C64C-76E7-4766-A3F8-E52212CC95A6}" type="slidenum">
              <a:rPr kumimoji="0" lang="en-US" altLang="es-P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 userDrawn="1"/>
        </p:nvCxnSpPr>
        <p:spPr>
          <a:xfrm>
            <a:off x="741969" y="1571625"/>
            <a:ext cx="0" cy="422074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5" name="Grupo 44"/>
          <p:cNvGrpSpPr/>
          <p:nvPr userDrawn="1"/>
        </p:nvGrpSpPr>
        <p:grpSpPr>
          <a:xfrm>
            <a:off x="645218" y="1814528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47" name="Grupo 46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49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orma libre 49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8" name="CuadroTexto 47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7" name="Content Placeholder 2"/>
          <p:cNvSpPr>
            <a:spLocks noGrp="1"/>
          </p:cNvSpPr>
          <p:nvPr>
            <p:ph idx="1"/>
          </p:nvPr>
        </p:nvSpPr>
        <p:spPr>
          <a:xfrm>
            <a:off x="842957" y="1934674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58" name="Content Placeholder 2"/>
          <p:cNvSpPr>
            <a:spLocks noGrp="1"/>
          </p:cNvSpPr>
          <p:nvPr>
            <p:ph idx="13"/>
          </p:nvPr>
        </p:nvSpPr>
        <p:spPr>
          <a:xfrm>
            <a:off x="3159233" y="1680767"/>
            <a:ext cx="3801600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7"/>
          </p:nvPr>
        </p:nvSpPr>
        <p:spPr>
          <a:xfrm>
            <a:off x="7281337" y="1680767"/>
            <a:ext cx="3802663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grpSp>
        <p:nvGrpSpPr>
          <p:cNvPr id="23" name="Grupo 22"/>
          <p:cNvGrpSpPr/>
          <p:nvPr userDrawn="1"/>
        </p:nvGrpSpPr>
        <p:grpSpPr>
          <a:xfrm>
            <a:off x="645218" y="4097236"/>
            <a:ext cx="2271551" cy="1071664"/>
            <a:chOff x="1462955" y="2195784"/>
            <a:chExt cx="1656185" cy="1544314"/>
          </a:xfrm>
          <a:solidFill>
            <a:srgbClr val="E8E9F4"/>
          </a:solidFill>
        </p:grpSpPr>
        <p:grpSp>
          <p:nvGrpSpPr>
            <p:cNvPr id="24" name="Grupo 23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  <a:grpFill/>
          </p:grpSpPr>
          <p:sp>
            <p:nvSpPr>
              <p:cNvPr id="26" name="Rectángulo redondeado 19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0 w 1656184"/>
                  <a:gd name="connsiteY7" fmla="*/ 1020109 h 1224136"/>
                  <a:gd name="connsiteX8" fmla="*/ 0 w 1656184"/>
                  <a:gd name="connsiteY8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97722 w 1656184"/>
                  <a:gd name="connsiteY7" fmla="*/ 1198576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44518"/>
                  <a:gd name="connsiteX1" fmla="*/ 204027 w 1656184"/>
                  <a:gd name="connsiteY1" fmla="*/ 0 h 1244518"/>
                  <a:gd name="connsiteX2" fmla="*/ 1452157 w 1656184"/>
                  <a:gd name="connsiteY2" fmla="*/ 0 h 1244518"/>
                  <a:gd name="connsiteX3" fmla="*/ 1656184 w 1656184"/>
                  <a:gd name="connsiteY3" fmla="*/ 204027 h 1244518"/>
                  <a:gd name="connsiteX4" fmla="*/ 1656184 w 1656184"/>
                  <a:gd name="connsiteY4" fmla="*/ 1020109 h 1244518"/>
                  <a:gd name="connsiteX5" fmla="*/ 1452157 w 1656184"/>
                  <a:gd name="connsiteY5" fmla="*/ 1224136 h 1244518"/>
                  <a:gd name="connsiteX6" fmla="*/ 204027 w 1656184"/>
                  <a:gd name="connsiteY6" fmla="*/ 1224136 h 1244518"/>
                  <a:gd name="connsiteX7" fmla="*/ 88197 w 1656184"/>
                  <a:gd name="connsiteY7" fmla="*/ 1231914 h 1244518"/>
                  <a:gd name="connsiteX8" fmla="*/ 0 w 1656184"/>
                  <a:gd name="connsiteY8" fmla="*/ 1020109 h 1244518"/>
                  <a:gd name="connsiteX9" fmla="*/ 0 w 1656184"/>
                  <a:gd name="connsiteY9" fmla="*/ 204027 h 1244518"/>
                  <a:gd name="connsiteX0" fmla="*/ 0 w 1656184"/>
                  <a:gd name="connsiteY0" fmla="*/ 204027 h 1233787"/>
                  <a:gd name="connsiteX1" fmla="*/ 204027 w 1656184"/>
                  <a:gd name="connsiteY1" fmla="*/ 0 h 1233787"/>
                  <a:gd name="connsiteX2" fmla="*/ 1452157 w 1656184"/>
                  <a:gd name="connsiteY2" fmla="*/ 0 h 1233787"/>
                  <a:gd name="connsiteX3" fmla="*/ 1656184 w 1656184"/>
                  <a:gd name="connsiteY3" fmla="*/ 204027 h 1233787"/>
                  <a:gd name="connsiteX4" fmla="*/ 1656184 w 1656184"/>
                  <a:gd name="connsiteY4" fmla="*/ 1020109 h 1233787"/>
                  <a:gd name="connsiteX5" fmla="*/ 1452157 w 1656184"/>
                  <a:gd name="connsiteY5" fmla="*/ 1224136 h 1233787"/>
                  <a:gd name="connsiteX6" fmla="*/ 204027 w 1656184"/>
                  <a:gd name="connsiteY6" fmla="*/ 1224136 h 1233787"/>
                  <a:gd name="connsiteX7" fmla="*/ 88197 w 1656184"/>
                  <a:gd name="connsiteY7" fmla="*/ 1231914 h 1233787"/>
                  <a:gd name="connsiteX8" fmla="*/ 0 w 1656184"/>
                  <a:gd name="connsiteY8" fmla="*/ 1020109 h 1233787"/>
                  <a:gd name="connsiteX9" fmla="*/ 0 w 1656184"/>
                  <a:gd name="connsiteY9" fmla="*/ 204027 h 1233787"/>
                  <a:gd name="connsiteX0" fmla="*/ 0 w 1656184"/>
                  <a:gd name="connsiteY0" fmla="*/ 204027 h 1224136"/>
                  <a:gd name="connsiteX1" fmla="*/ 204027 w 1656184"/>
                  <a:gd name="connsiteY1" fmla="*/ 0 h 1224136"/>
                  <a:gd name="connsiteX2" fmla="*/ 1452157 w 1656184"/>
                  <a:gd name="connsiteY2" fmla="*/ 0 h 1224136"/>
                  <a:gd name="connsiteX3" fmla="*/ 1656184 w 1656184"/>
                  <a:gd name="connsiteY3" fmla="*/ 204027 h 1224136"/>
                  <a:gd name="connsiteX4" fmla="*/ 1656184 w 1656184"/>
                  <a:gd name="connsiteY4" fmla="*/ 1020109 h 1224136"/>
                  <a:gd name="connsiteX5" fmla="*/ 1452157 w 1656184"/>
                  <a:gd name="connsiteY5" fmla="*/ 1224136 h 1224136"/>
                  <a:gd name="connsiteX6" fmla="*/ 204027 w 1656184"/>
                  <a:gd name="connsiteY6" fmla="*/ 1224136 h 1224136"/>
                  <a:gd name="connsiteX7" fmla="*/ 88197 w 1656184"/>
                  <a:gd name="connsiteY7" fmla="*/ 1220008 h 1224136"/>
                  <a:gd name="connsiteX8" fmla="*/ 0 w 1656184"/>
                  <a:gd name="connsiteY8" fmla="*/ 1020109 h 1224136"/>
                  <a:gd name="connsiteX9" fmla="*/ 0 w 1656184"/>
                  <a:gd name="connsiteY9" fmla="*/ 204027 h 1224136"/>
                  <a:gd name="connsiteX0" fmla="*/ 0 w 1656184"/>
                  <a:gd name="connsiteY0" fmla="*/ 204027 h 1271273"/>
                  <a:gd name="connsiteX1" fmla="*/ 204027 w 1656184"/>
                  <a:gd name="connsiteY1" fmla="*/ 0 h 1271273"/>
                  <a:gd name="connsiteX2" fmla="*/ 1452157 w 1656184"/>
                  <a:gd name="connsiteY2" fmla="*/ 0 h 1271273"/>
                  <a:gd name="connsiteX3" fmla="*/ 1656184 w 1656184"/>
                  <a:gd name="connsiteY3" fmla="*/ 204027 h 1271273"/>
                  <a:gd name="connsiteX4" fmla="*/ 1656184 w 1656184"/>
                  <a:gd name="connsiteY4" fmla="*/ 1020109 h 1271273"/>
                  <a:gd name="connsiteX5" fmla="*/ 1452157 w 1656184"/>
                  <a:gd name="connsiteY5" fmla="*/ 1224136 h 1271273"/>
                  <a:gd name="connsiteX6" fmla="*/ 204027 w 1656184"/>
                  <a:gd name="connsiteY6" fmla="*/ 1224136 h 1271273"/>
                  <a:gd name="connsiteX7" fmla="*/ 102484 w 1656184"/>
                  <a:gd name="connsiteY7" fmla="*/ 1270014 h 1271273"/>
                  <a:gd name="connsiteX8" fmla="*/ 0 w 1656184"/>
                  <a:gd name="connsiteY8" fmla="*/ 1020109 h 1271273"/>
                  <a:gd name="connsiteX9" fmla="*/ 0 w 1656184"/>
                  <a:gd name="connsiteY9" fmla="*/ 204027 h 1271273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278210"/>
                  <a:gd name="connsiteX1" fmla="*/ 204027 w 1656184"/>
                  <a:gd name="connsiteY1" fmla="*/ 0 h 1278210"/>
                  <a:gd name="connsiteX2" fmla="*/ 1452157 w 1656184"/>
                  <a:gd name="connsiteY2" fmla="*/ 0 h 1278210"/>
                  <a:gd name="connsiteX3" fmla="*/ 1656184 w 1656184"/>
                  <a:gd name="connsiteY3" fmla="*/ 204027 h 1278210"/>
                  <a:gd name="connsiteX4" fmla="*/ 1656184 w 1656184"/>
                  <a:gd name="connsiteY4" fmla="*/ 1020109 h 1278210"/>
                  <a:gd name="connsiteX5" fmla="*/ 1452157 w 1656184"/>
                  <a:gd name="connsiteY5" fmla="*/ 1224136 h 1278210"/>
                  <a:gd name="connsiteX6" fmla="*/ 204027 w 1656184"/>
                  <a:gd name="connsiteY6" fmla="*/ 1224136 h 1278210"/>
                  <a:gd name="connsiteX7" fmla="*/ 102484 w 1656184"/>
                  <a:gd name="connsiteY7" fmla="*/ 1270014 h 1278210"/>
                  <a:gd name="connsiteX8" fmla="*/ 0 w 1656184"/>
                  <a:gd name="connsiteY8" fmla="*/ 1020109 h 1278210"/>
                  <a:gd name="connsiteX9" fmla="*/ 0 w 1656184"/>
                  <a:gd name="connsiteY9" fmla="*/ 204027 h 1278210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04027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1021"/>
                  <a:gd name="connsiteX1" fmla="*/ 204027 w 1656184"/>
                  <a:gd name="connsiteY1" fmla="*/ 0 h 1301021"/>
                  <a:gd name="connsiteX2" fmla="*/ 1452157 w 1656184"/>
                  <a:gd name="connsiteY2" fmla="*/ 0 h 1301021"/>
                  <a:gd name="connsiteX3" fmla="*/ 1656184 w 1656184"/>
                  <a:gd name="connsiteY3" fmla="*/ 204027 h 1301021"/>
                  <a:gd name="connsiteX4" fmla="*/ 1656184 w 1656184"/>
                  <a:gd name="connsiteY4" fmla="*/ 1020109 h 1301021"/>
                  <a:gd name="connsiteX5" fmla="*/ 1452157 w 1656184"/>
                  <a:gd name="connsiteY5" fmla="*/ 1224136 h 1301021"/>
                  <a:gd name="connsiteX6" fmla="*/ 239746 w 1656184"/>
                  <a:gd name="connsiteY6" fmla="*/ 1224136 h 1301021"/>
                  <a:gd name="connsiteX7" fmla="*/ 28666 w 1656184"/>
                  <a:gd name="connsiteY7" fmla="*/ 1293826 h 1301021"/>
                  <a:gd name="connsiteX8" fmla="*/ 0 w 1656184"/>
                  <a:gd name="connsiteY8" fmla="*/ 1020109 h 1301021"/>
                  <a:gd name="connsiteX9" fmla="*/ 0 w 1656184"/>
                  <a:gd name="connsiteY9" fmla="*/ 204027 h 1301021"/>
                  <a:gd name="connsiteX0" fmla="*/ 0 w 1656184"/>
                  <a:gd name="connsiteY0" fmla="*/ 204027 h 1305610"/>
                  <a:gd name="connsiteX1" fmla="*/ 204027 w 1656184"/>
                  <a:gd name="connsiteY1" fmla="*/ 0 h 1305610"/>
                  <a:gd name="connsiteX2" fmla="*/ 1452157 w 1656184"/>
                  <a:gd name="connsiteY2" fmla="*/ 0 h 1305610"/>
                  <a:gd name="connsiteX3" fmla="*/ 1656184 w 1656184"/>
                  <a:gd name="connsiteY3" fmla="*/ 204027 h 1305610"/>
                  <a:gd name="connsiteX4" fmla="*/ 1656184 w 1656184"/>
                  <a:gd name="connsiteY4" fmla="*/ 1020109 h 1305610"/>
                  <a:gd name="connsiteX5" fmla="*/ 1452157 w 1656184"/>
                  <a:gd name="connsiteY5" fmla="*/ 1224136 h 1305610"/>
                  <a:gd name="connsiteX6" fmla="*/ 239746 w 1656184"/>
                  <a:gd name="connsiteY6" fmla="*/ 1224136 h 1305610"/>
                  <a:gd name="connsiteX7" fmla="*/ 62003 w 1656184"/>
                  <a:gd name="connsiteY7" fmla="*/ 1298588 h 1305610"/>
                  <a:gd name="connsiteX8" fmla="*/ 0 w 1656184"/>
                  <a:gd name="connsiteY8" fmla="*/ 1020109 h 1305610"/>
                  <a:gd name="connsiteX9" fmla="*/ 0 w 1656184"/>
                  <a:gd name="connsiteY9" fmla="*/ 204027 h 1305610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21522 w 1656184"/>
                  <a:gd name="connsiteY8" fmla="*/ 1222387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0 w 1656184"/>
                  <a:gd name="connsiteY0" fmla="*/ 204027 h 1298588"/>
                  <a:gd name="connsiteX1" fmla="*/ 204027 w 1656184"/>
                  <a:gd name="connsiteY1" fmla="*/ 0 h 1298588"/>
                  <a:gd name="connsiteX2" fmla="*/ 1452157 w 1656184"/>
                  <a:gd name="connsiteY2" fmla="*/ 0 h 1298588"/>
                  <a:gd name="connsiteX3" fmla="*/ 1656184 w 1656184"/>
                  <a:gd name="connsiteY3" fmla="*/ 204027 h 1298588"/>
                  <a:gd name="connsiteX4" fmla="*/ 1656184 w 1656184"/>
                  <a:gd name="connsiteY4" fmla="*/ 1020109 h 1298588"/>
                  <a:gd name="connsiteX5" fmla="*/ 1452157 w 1656184"/>
                  <a:gd name="connsiteY5" fmla="*/ 1224136 h 1298588"/>
                  <a:gd name="connsiteX6" fmla="*/ 239746 w 1656184"/>
                  <a:gd name="connsiteY6" fmla="*/ 1224136 h 1298588"/>
                  <a:gd name="connsiteX7" fmla="*/ 62003 w 1656184"/>
                  <a:gd name="connsiteY7" fmla="*/ 1298588 h 1298588"/>
                  <a:gd name="connsiteX8" fmla="*/ 7234 w 1656184"/>
                  <a:gd name="connsiteY8" fmla="*/ 1217625 h 1298588"/>
                  <a:gd name="connsiteX9" fmla="*/ 0 w 1656184"/>
                  <a:gd name="connsiteY9" fmla="*/ 1020109 h 1298588"/>
                  <a:gd name="connsiteX10" fmla="*/ 0 w 1656184"/>
                  <a:gd name="connsiteY10" fmla="*/ 204027 h 1298588"/>
                  <a:gd name="connsiteX0" fmla="*/ 1769 w 1657953"/>
                  <a:gd name="connsiteY0" fmla="*/ 204027 h 1298588"/>
                  <a:gd name="connsiteX1" fmla="*/ 205796 w 1657953"/>
                  <a:gd name="connsiteY1" fmla="*/ 0 h 1298588"/>
                  <a:gd name="connsiteX2" fmla="*/ 1453926 w 1657953"/>
                  <a:gd name="connsiteY2" fmla="*/ 0 h 1298588"/>
                  <a:gd name="connsiteX3" fmla="*/ 1657953 w 1657953"/>
                  <a:gd name="connsiteY3" fmla="*/ 204027 h 1298588"/>
                  <a:gd name="connsiteX4" fmla="*/ 1657953 w 1657953"/>
                  <a:gd name="connsiteY4" fmla="*/ 1020109 h 1298588"/>
                  <a:gd name="connsiteX5" fmla="*/ 1453926 w 1657953"/>
                  <a:gd name="connsiteY5" fmla="*/ 1224136 h 1298588"/>
                  <a:gd name="connsiteX6" fmla="*/ 241515 w 1657953"/>
                  <a:gd name="connsiteY6" fmla="*/ 1224136 h 1298588"/>
                  <a:gd name="connsiteX7" fmla="*/ 63772 w 1657953"/>
                  <a:gd name="connsiteY7" fmla="*/ 1298588 h 1298588"/>
                  <a:gd name="connsiteX8" fmla="*/ 1860 w 1657953"/>
                  <a:gd name="connsiteY8" fmla="*/ 1217625 h 1298588"/>
                  <a:gd name="connsiteX9" fmla="*/ 1769 w 1657953"/>
                  <a:gd name="connsiteY9" fmla="*/ 1020109 h 1298588"/>
                  <a:gd name="connsiteX10" fmla="*/ 1769 w 1657953"/>
                  <a:gd name="connsiteY10" fmla="*/ 204027 h 1298588"/>
                  <a:gd name="connsiteX0" fmla="*/ 1769 w 1657953"/>
                  <a:gd name="connsiteY0" fmla="*/ 204027 h 1355738"/>
                  <a:gd name="connsiteX1" fmla="*/ 205796 w 1657953"/>
                  <a:gd name="connsiteY1" fmla="*/ 0 h 1355738"/>
                  <a:gd name="connsiteX2" fmla="*/ 1453926 w 1657953"/>
                  <a:gd name="connsiteY2" fmla="*/ 0 h 1355738"/>
                  <a:gd name="connsiteX3" fmla="*/ 1657953 w 1657953"/>
                  <a:gd name="connsiteY3" fmla="*/ 204027 h 1355738"/>
                  <a:gd name="connsiteX4" fmla="*/ 1657953 w 1657953"/>
                  <a:gd name="connsiteY4" fmla="*/ 1020109 h 1355738"/>
                  <a:gd name="connsiteX5" fmla="*/ 1453926 w 1657953"/>
                  <a:gd name="connsiteY5" fmla="*/ 1224136 h 1355738"/>
                  <a:gd name="connsiteX6" fmla="*/ 241515 w 1657953"/>
                  <a:gd name="connsiteY6" fmla="*/ 1224136 h 1355738"/>
                  <a:gd name="connsiteX7" fmla="*/ 68535 w 1657953"/>
                  <a:gd name="connsiteY7" fmla="*/ 1355738 h 1355738"/>
                  <a:gd name="connsiteX8" fmla="*/ 1860 w 1657953"/>
                  <a:gd name="connsiteY8" fmla="*/ 1217625 h 1355738"/>
                  <a:gd name="connsiteX9" fmla="*/ 1769 w 1657953"/>
                  <a:gd name="connsiteY9" fmla="*/ 1020109 h 1355738"/>
                  <a:gd name="connsiteX10" fmla="*/ 1769 w 1657953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5738"/>
                  <a:gd name="connsiteX1" fmla="*/ 204027 w 1656184"/>
                  <a:gd name="connsiteY1" fmla="*/ 0 h 1355738"/>
                  <a:gd name="connsiteX2" fmla="*/ 1452157 w 1656184"/>
                  <a:gd name="connsiteY2" fmla="*/ 0 h 1355738"/>
                  <a:gd name="connsiteX3" fmla="*/ 1656184 w 1656184"/>
                  <a:gd name="connsiteY3" fmla="*/ 204027 h 1355738"/>
                  <a:gd name="connsiteX4" fmla="*/ 1656184 w 1656184"/>
                  <a:gd name="connsiteY4" fmla="*/ 1020109 h 1355738"/>
                  <a:gd name="connsiteX5" fmla="*/ 1452157 w 1656184"/>
                  <a:gd name="connsiteY5" fmla="*/ 1224136 h 1355738"/>
                  <a:gd name="connsiteX6" fmla="*/ 239746 w 1656184"/>
                  <a:gd name="connsiteY6" fmla="*/ 1224136 h 1355738"/>
                  <a:gd name="connsiteX7" fmla="*/ 66766 w 1656184"/>
                  <a:gd name="connsiteY7" fmla="*/ 1355738 h 1355738"/>
                  <a:gd name="connsiteX8" fmla="*/ 2472 w 1656184"/>
                  <a:gd name="connsiteY8" fmla="*/ 1217625 h 1355738"/>
                  <a:gd name="connsiteX9" fmla="*/ 0 w 1656184"/>
                  <a:gd name="connsiteY9" fmla="*/ 1020109 h 1355738"/>
                  <a:gd name="connsiteX10" fmla="*/ 0 w 1656184"/>
                  <a:gd name="connsiteY10" fmla="*/ 204027 h 1355738"/>
                  <a:gd name="connsiteX0" fmla="*/ 0 w 1656184"/>
                  <a:gd name="connsiteY0" fmla="*/ 204027 h 1357084"/>
                  <a:gd name="connsiteX1" fmla="*/ 204027 w 1656184"/>
                  <a:gd name="connsiteY1" fmla="*/ 0 h 1357084"/>
                  <a:gd name="connsiteX2" fmla="*/ 1452157 w 1656184"/>
                  <a:gd name="connsiteY2" fmla="*/ 0 h 1357084"/>
                  <a:gd name="connsiteX3" fmla="*/ 1656184 w 1656184"/>
                  <a:gd name="connsiteY3" fmla="*/ 204027 h 1357084"/>
                  <a:gd name="connsiteX4" fmla="*/ 1656184 w 1656184"/>
                  <a:gd name="connsiteY4" fmla="*/ 1020109 h 1357084"/>
                  <a:gd name="connsiteX5" fmla="*/ 1452157 w 1656184"/>
                  <a:gd name="connsiteY5" fmla="*/ 1224136 h 1357084"/>
                  <a:gd name="connsiteX6" fmla="*/ 239746 w 1656184"/>
                  <a:gd name="connsiteY6" fmla="*/ 1224136 h 1357084"/>
                  <a:gd name="connsiteX7" fmla="*/ 66766 w 1656184"/>
                  <a:gd name="connsiteY7" fmla="*/ 1355738 h 1357084"/>
                  <a:gd name="connsiteX8" fmla="*/ 2472 w 1656184"/>
                  <a:gd name="connsiteY8" fmla="*/ 1217625 h 1357084"/>
                  <a:gd name="connsiteX9" fmla="*/ 0 w 1656184"/>
                  <a:gd name="connsiteY9" fmla="*/ 1020109 h 1357084"/>
                  <a:gd name="connsiteX10" fmla="*/ 0 w 1656184"/>
                  <a:gd name="connsiteY10" fmla="*/ 204027 h 135708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58224"/>
                  <a:gd name="connsiteX1" fmla="*/ 204027 w 1656184"/>
                  <a:gd name="connsiteY1" fmla="*/ 0 h 1358224"/>
                  <a:gd name="connsiteX2" fmla="*/ 1452157 w 1656184"/>
                  <a:gd name="connsiteY2" fmla="*/ 0 h 1358224"/>
                  <a:gd name="connsiteX3" fmla="*/ 1656184 w 1656184"/>
                  <a:gd name="connsiteY3" fmla="*/ 204027 h 1358224"/>
                  <a:gd name="connsiteX4" fmla="*/ 1656184 w 1656184"/>
                  <a:gd name="connsiteY4" fmla="*/ 1020109 h 1358224"/>
                  <a:gd name="connsiteX5" fmla="*/ 1452157 w 1656184"/>
                  <a:gd name="connsiteY5" fmla="*/ 1224136 h 1358224"/>
                  <a:gd name="connsiteX6" fmla="*/ 239746 w 1656184"/>
                  <a:gd name="connsiteY6" fmla="*/ 1224136 h 1358224"/>
                  <a:gd name="connsiteX7" fmla="*/ 66766 w 1656184"/>
                  <a:gd name="connsiteY7" fmla="*/ 1355738 h 1358224"/>
                  <a:gd name="connsiteX8" fmla="*/ 7235 w 1656184"/>
                  <a:gd name="connsiteY8" fmla="*/ 1303350 h 1358224"/>
                  <a:gd name="connsiteX9" fmla="*/ 2472 w 1656184"/>
                  <a:gd name="connsiteY9" fmla="*/ 1217625 h 1358224"/>
                  <a:gd name="connsiteX10" fmla="*/ 0 w 1656184"/>
                  <a:gd name="connsiteY10" fmla="*/ 1020109 h 1358224"/>
                  <a:gd name="connsiteX11" fmla="*/ 0 w 1656184"/>
                  <a:gd name="connsiteY11" fmla="*/ 204027 h 1358224"/>
                  <a:gd name="connsiteX0" fmla="*/ 0 w 1656184"/>
                  <a:gd name="connsiteY0" fmla="*/ 204027 h 1360714"/>
                  <a:gd name="connsiteX1" fmla="*/ 204027 w 1656184"/>
                  <a:gd name="connsiteY1" fmla="*/ 0 h 1360714"/>
                  <a:gd name="connsiteX2" fmla="*/ 1452157 w 1656184"/>
                  <a:gd name="connsiteY2" fmla="*/ 0 h 1360714"/>
                  <a:gd name="connsiteX3" fmla="*/ 1656184 w 1656184"/>
                  <a:gd name="connsiteY3" fmla="*/ 204027 h 1360714"/>
                  <a:gd name="connsiteX4" fmla="*/ 1656184 w 1656184"/>
                  <a:gd name="connsiteY4" fmla="*/ 1020109 h 1360714"/>
                  <a:gd name="connsiteX5" fmla="*/ 1452157 w 1656184"/>
                  <a:gd name="connsiteY5" fmla="*/ 1224136 h 1360714"/>
                  <a:gd name="connsiteX6" fmla="*/ 239746 w 1656184"/>
                  <a:gd name="connsiteY6" fmla="*/ 1224136 h 1360714"/>
                  <a:gd name="connsiteX7" fmla="*/ 66766 w 1656184"/>
                  <a:gd name="connsiteY7" fmla="*/ 1355738 h 1360714"/>
                  <a:gd name="connsiteX8" fmla="*/ 7235 w 1656184"/>
                  <a:gd name="connsiteY8" fmla="*/ 1303350 h 1360714"/>
                  <a:gd name="connsiteX9" fmla="*/ 2472 w 1656184"/>
                  <a:gd name="connsiteY9" fmla="*/ 1217625 h 1360714"/>
                  <a:gd name="connsiteX10" fmla="*/ 0 w 1656184"/>
                  <a:gd name="connsiteY10" fmla="*/ 1020109 h 1360714"/>
                  <a:gd name="connsiteX11" fmla="*/ 0 w 1656184"/>
                  <a:gd name="connsiteY11" fmla="*/ 204027 h 1360714"/>
                  <a:gd name="connsiteX0" fmla="*/ 0 w 1656184"/>
                  <a:gd name="connsiteY0" fmla="*/ 204027 h 1359410"/>
                  <a:gd name="connsiteX1" fmla="*/ 204027 w 1656184"/>
                  <a:gd name="connsiteY1" fmla="*/ 0 h 1359410"/>
                  <a:gd name="connsiteX2" fmla="*/ 1452157 w 1656184"/>
                  <a:gd name="connsiteY2" fmla="*/ 0 h 1359410"/>
                  <a:gd name="connsiteX3" fmla="*/ 1656184 w 1656184"/>
                  <a:gd name="connsiteY3" fmla="*/ 204027 h 1359410"/>
                  <a:gd name="connsiteX4" fmla="*/ 1656184 w 1656184"/>
                  <a:gd name="connsiteY4" fmla="*/ 1020109 h 1359410"/>
                  <a:gd name="connsiteX5" fmla="*/ 1452157 w 1656184"/>
                  <a:gd name="connsiteY5" fmla="*/ 1224136 h 1359410"/>
                  <a:gd name="connsiteX6" fmla="*/ 239746 w 1656184"/>
                  <a:gd name="connsiteY6" fmla="*/ 1224136 h 1359410"/>
                  <a:gd name="connsiteX7" fmla="*/ 66766 w 1656184"/>
                  <a:gd name="connsiteY7" fmla="*/ 1355738 h 1359410"/>
                  <a:gd name="connsiteX8" fmla="*/ 7235 w 1656184"/>
                  <a:gd name="connsiteY8" fmla="*/ 1303350 h 1359410"/>
                  <a:gd name="connsiteX9" fmla="*/ 2472 w 1656184"/>
                  <a:gd name="connsiteY9" fmla="*/ 1217625 h 1359410"/>
                  <a:gd name="connsiteX10" fmla="*/ 0 w 1656184"/>
                  <a:gd name="connsiteY10" fmla="*/ 1020109 h 1359410"/>
                  <a:gd name="connsiteX11" fmla="*/ 0 w 1656184"/>
                  <a:gd name="connsiteY11" fmla="*/ 204027 h 1359410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8578"/>
                  <a:gd name="connsiteX1" fmla="*/ 204027 w 1656184"/>
                  <a:gd name="connsiteY1" fmla="*/ 0 h 1358578"/>
                  <a:gd name="connsiteX2" fmla="*/ 1452157 w 1656184"/>
                  <a:gd name="connsiteY2" fmla="*/ 0 h 1358578"/>
                  <a:gd name="connsiteX3" fmla="*/ 1656184 w 1656184"/>
                  <a:gd name="connsiteY3" fmla="*/ 204027 h 1358578"/>
                  <a:gd name="connsiteX4" fmla="*/ 1656184 w 1656184"/>
                  <a:gd name="connsiteY4" fmla="*/ 1020109 h 1358578"/>
                  <a:gd name="connsiteX5" fmla="*/ 1452157 w 1656184"/>
                  <a:gd name="connsiteY5" fmla="*/ 1224136 h 1358578"/>
                  <a:gd name="connsiteX6" fmla="*/ 239746 w 1656184"/>
                  <a:gd name="connsiteY6" fmla="*/ 1224136 h 1358578"/>
                  <a:gd name="connsiteX7" fmla="*/ 66766 w 1656184"/>
                  <a:gd name="connsiteY7" fmla="*/ 1355738 h 1358578"/>
                  <a:gd name="connsiteX8" fmla="*/ 7235 w 1656184"/>
                  <a:gd name="connsiteY8" fmla="*/ 1303350 h 1358578"/>
                  <a:gd name="connsiteX9" fmla="*/ 2472 w 1656184"/>
                  <a:gd name="connsiteY9" fmla="*/ 1217625 h 1358578"/>
                  <a:gd name="connsiteX10" fmla="*/ 0 w 1656184"/>
                  <a:gd name="connsiteY10" fmla="*/ 1020109 h 1358578"/>
                  <a:gd name="connsiteX11" fmla="*/ 0 w 1656184"/>
                  <a:gd name="connsiteY11" fmla="*/ 204027 h 1358578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66766 w 1656184"/>
                  <a:gd name="connsiteY7" fmla="*/ 1355738 h 1359131"/>
                  <a:gd name="connsiteX8" fmla="*/ 7235 w 1656184"/>
                  <a:gd name="connsiteY8" fmla="*/ 1303350 h 1359131"/>
                  <a:gd name="connsiteX9" fmla="*/ 2472 w 1656184"/>
                  <a:gd name="connsiteY9" fmla="*/ 1217625 h 1359131"/>
                  <a:gd name="connsiteX10" fmla="*/ 0 w 1656184"/>
                  <a:gd name="connsiteY10" fmla="*/ 1020109 h 1359131"/>
                  <a:gd name="connsiteX11" fmla="*/ 0 w 1656184"/>
                  <a:gd name="connsiteY11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93777 w 1656184"/>
                  <a:gd name="connsiteY7" fmla="*/ 124938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41213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33041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6184 w 1656184"/>
                  <a:gd name="connsiteY4" fmla="*/ 1020109 h 1359131"/>
                  <a:gd name="connsiteX5" fmla="*/ 1452157 w 1656184"/>
                  <a:gd name="connsiteY5" fmla="*/ 1224136 h 1359131"/>
                  <a:gd name="connsiteX6" fmla="*/ 239746 w 1656184"/>
                  <a:gd name="connsiteY6" fmla="*/ 1224136 h 1359131"/>
                  <a:gd name="connsiteX7" fmla="*/ 89730 w 1656184"/>
                  <a:gd name="connsiteY7" fmla="*/ 1228955 h 1359131"/>
                  <a:gd name="connsiteX8" fmla="*/ 66766 w 1656184"/>
                  <a:gd name="connsiteY8" fmla="*/ 1355738 h 1359131"/>
                  <a:gd name="connsiteX9" fmla="*/ 7235 w 1656184"/>
                  <a:gd name="connsiteY9" fmla="*/ 1303350 h 1359131"/>
                  <a:gd name="connsiteX10" fmla="*/ 2472 w 1656184"/>
                  <a:gd name="connsiteY10" fmla="*/ 1217625 h 1359131"/>
                  <a:gd name="connsiteX11" fmla="*/ 0 w 1656184"/>
                  <a:gd name="connsiteY11" fmla="*/ 1020109 h 1359131"/>
                  <a:gd name="connsiteX12" fmla="*/ 0 w 1656184"/>
                  <a:gd name="connsiteY12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749674 h 1359131"/>
                  <a:gd name="connsiteX5" fmla="*/ 1656184 w 1656184"/>
                  <a:gd name="connsiteY5" fmla="*/ 1020109 h 1359131"/>
                  <a:gd name="connsiteX6" fmla="*/ 1452157 w 1656184"/>
                  <a:gd name="connsiteY6" fmla="*/ 1224136 h 1359131"/>
                  <a:gd name="connsiteX7" fmla="*/ 239746 w 1656184"/>
                  <a:gd name="connsiteY7" fmla="*/ 1224136 h 1359131"/>
                  <a:gd name="connsiteX8" fmla="*/ 89730 w 1656184"/>
                  <a:gd name="connsiteY8" fmla="*/ 1228955 h 1359131"/>
                  <a:gd name="connsiteX9" fmla="*/ 66766 w 1656184"/>
                  <a:gd name="connsiteY9" fmla="*/ 1355738 h 1359131"/>
                  <a:gd name="connsiteX10" fmla="*/ 7235 w 1656184"/>
                  <a:gd name="connsiteY10" fmla="*/ 1303350 h 1359131"/>
                  <a:gd name="connsiteX11" fmla="*/ 2472 w 1656184"/>
                  <a:gd name="connsiteY11" fmla="*/ 1217625 h 1359131"/>
                  <a:gd name="connsiteX12" fmla="*/ 0 w 1656184"/>
                  <a:gd name="connsiteY12" fmla="*/ 1020109 h 1359131"/>
                  <a:gd name="connsiteX13" fmla="*/ 0 w 1656184"/>
                  <a:gd name="connsiteY13" fmla="*/ 204027 h 1359131"/>
                  <a:gd name="connsiteX0" fmla="*/ 0 w 1670337"/>
                  <a:gd name="connsiteY0" fmla="*/ 204027 h 1359131"/>
                  <a:gd name="connsiteX1" fmla="*/ 204027 w 1670337"/>
                  <a:gd name="connsiteY1" fmla="*/ 0 h 1359131"/>
                  <a:gd name="connsiteX2" fmla="*/ 1452157 w 1670337"/>
                  <a:gd name="connsiteY2" fmla="*/ 0 h 1359131"/>
                  <a:gd name="connsiteX3" fmla="*/ 1656184 w 1670337"/>
                  <a:gd name="connsiteY3" fmla="*/ 204027 h 1359131"/>
                  <a:gd name="connsiteX4" fmla="*/ 1652822 w 1670337"/>
                  <a:gd name="connsiteY4" fmla="*/ 428604 h 1359131"/>
                  <a:gd name="connsiteX5" fmla="*/ 1652822 w 1670337"/>
                  <a:gd name="connsiteY5" fmla="*/ 749674 h 1359131"/>
                  <a:gd name="connsiteX6" fmla="*/ 1656184 w 1670337"/>
                  <a:gd name="connsiteY6" fmla="*/ 1020109 h 1359131"/>
                  <a:gd name="connsiteX7" fmla="*/ 1452157 w 1670337"/>
                  <a:gd name="connsiteY7" fmla="*/ 1224136 h 1359131"/>
                  <a:gd name="connsiteX8" fmla="*/ 239746 w 1670337"/>
                  <a:gd name="connsiteY8" fmla="*/ 1224136 h 1359131"/>
                  <a:gd name="connsiteX9" fmla="*/ 89730 w 1670337"/>
                  <a:gd name="connsiteY9" fmla="*/ 1228955 h 1359131"/>
                  <a:gd name="connsiteX10" fmla="*/ 66766 w 1670337"/>
                  <a:gd name="connsiteY10" fmla="*/ 1355738 h 1359131"/>
                  <a:gd name="connsiteX11" fmla="*/ 7235 w 1670337"/>
                  <a:gd name="connsiteY11" fmla="*/ 1303350 h 1359131"/>
                  <a:gd name="connsiteX12" fmla="*/ 2472 w 1670337"/>
                  <a:gd name="connsiteY12" fmla="*/ 1217625 h 1359131"/>
                  <a:gd name="connsiteX13" fmla="*/ 0 w 1670337"/>
                  <a:gd name="connsiteY13" fmla="*/ 1020109 h 1359131"/>
                  <a:gd name="connsiteX14" fmla="*/ 0 w 1670337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656184"/>
                  <a:gd name="connsiteY0" fmla="*/ 204027 h 1359131"/>
                  <a:gd name="connsiteX1" fmla="*/ 204027 w 1656184"/>
                  <a:gd name="connsiteY1" fmla="*/ 0 h 1359131"/>
                  <a:gd name="connsiteX2" fmla="*/ 1452157 w 1656184"/>
                  <a:gd name="connsiteY2" fmla="*/ 0 h 1359131"/>
                  <a:gd name="connsiteX3" fmla="*/ 1656184 w 1656184"/>
                  <a:gd name="connsiteY3" fmla="*/ 204027 h 1359131"/>
                  <a:gd name="connsiteX4" fmla="*/ 1652822 w 1656184"/>
                  <a:gd name="connsiteY4" fmla="*/ 428604 h 1359131"/>
                  <a:gd name="connsiteX5" fmla="*/ 1652822 w 1656184"/>
                  <a:gd name="connsiteY5" fmla="*/ 749674 h 1359131"/>
                  <a:gd name="connsiteX6" fmla="*/ 1656184 w 1656184"/>
                  <a:gd name="connsiteY6" fmla="*/ 1020109 h 1359131"/>
                  <a:gd name="connsiteX7" fmla="*/ 1452157 w 1656184"/>
                  <a:gd name="connsiteY7" fmla="*/ 1224136 h 1359131"/>
                  <a:gd name="connsiteX8" fmla="*/ 239746 w 1656184"/>
                  <a:gd name="connsiteY8" fmla="*/ 1224136 h 1359131"/>
                  <a:gd name="connsiteX9" fmla="*/ 89730 w 1656184"/>
                  <a:gd name="connsiteY9" fmla="*/ 1228955 h 1359131"/>
                  <a:gd name="connsiteX10" fmla="*/ 66766 w 1656184"/>
                  <a:gd name="connsiteY10" fmla="*/ 1355738 h 1359131"/>
                  <a:gd name="connsiteX11" fmla="*/ 7235 w 1656184"/>
                  <a:gd name="connsiteY11" fmla="*/ 1303350 h 1359131"/>
                  <a:gd name="connsiteX12" fmla="*/ 2472 w 1656184"/>
                  <a:gd name="connsiteY12" fmla="*/ 1217625 h 1359131"/>
                  <a:gd name="connsiteX13" fmla="*/ 0 w 1656184"/>
                  <a:gd name="connsiteY13" fmla="*/ 1020109 h 1359131"/>
                  <a:gd name="connsiteX14" fmla="*/ 0 w 16561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05784"/>
                  <a:gd name="connsiteY0" fmla="*/ 204027 h 1359131"/>
                  <a:gd name="connsiteX1" fmla="*/ 204027 w 1705784"/>
                  <a:gd name="connsiteY1" fmla="*/ 0 h 1359131"/>
                  <a:gd name="connsiteX2" fmla="*/ 1452157 w 1705784"/>
                  <a:gd name="connsiteY2" fmla="*/ 0 h 1359131"/>
                  <a:gd name="connsiteX3" fmla="*/ 1656184 w 1705784"/>
                  <a:gd name="connsiteY3" fmla="*/ 204027 h 1359131"/>
                  <a:gd name="connsiteX4" fmla="*/ 1652822 w 1705784"/>
                  <a:gd name="connsiteY4" fmla="*/ 428604 h 1359131"/>
                  <a:gd name="connsiteX5" fmla="*/ 1652822 w 1705784"/>
                  <a:gd name="connsiteY5" fmla="*/ 749674 h 1359131"/>
                  <a:gd name="connsiteX6" fmla="*/ 1656184 w 1705784"/>
                  <a:gd name="connsiteY6" fmla="*/ 1020109 h 1359131"/>
                  <a:gd name="connsiteX7" fmla="*/ 1452157 w 1705784"/>
                  <a:gd name="connsiteY7" fmla="*/ 1224136 h 1359131"/>
                  <a:gd name="connsiteX8" fmla="*/ 239746 w 1705784"/>
                  <a:gd name="connsiteY8" fmla="*/ 1224136 h 1359131"/>
                  <a:gd name="connsiteX9" fmla="*/ 89730 w 1705784"/>
                  <a:gd name="connsiteY9" fmla="*/ 1228955 h 1359131"/>
                  <a:gd name="connsiteX10" fmla="*/ 66766 w 1705784"/>
                  <a:gd name="connsiteY10" fmla="*/ 1355738 h 1359131"/>
                  <a:gd name="connsiteX11" fmla="*/ 7235 w 1705784"/>
                  <a:gd name="connsiteY11" fmla="*/ 1303350 h 1359131"/>
                  <a:gd name="connsiteX12" fmla="*/ 2472 w 1705784"/>
                  <a:gd name="connsiteY12" fmla="*/ 1217625 h 1359131"/>
                  <a:gd name="connsiteX13" fmla="*/ 0 w 1705784"/>
                  <a:gd name="connsiteY13" fmla="*/ 1020109 h 1359131"/>
                  <a:gd name="connsiteX14" fmla="*/ 0 w 1705784"/>
                  <a:gd name="connsiteY14" fmla="*/ 204027 h 1359131"/>
                  <a:gd name="connsiteX0" fmla="*/ 0 w 1735118"/>
                  <a:gd name="connsiteY0" fmla="*/ 204027 h 1359131"/>
                  <a:gd name="connsiteX1" fmla="*/ 204027 w 1735118"/>
                  <a:gd name="connsiteY1" fmla="*/ 0 h 1359131"/>
                  <a:gd name="connsiteX2" fmla="*/ 1452157 w 1735118"/>
                  <a:gd name="connsiteY2" fmla="*/ 0 h 1359131"/>
                  <a:gd name="connsiteX3" fmla="*/ 1656184 w 1735118"/>
                  <a:gd name="connsiteY3" fmla="*/ 204027 h 1359131"/>
                  <a:gd name="connsiteX4" fmla="*/ 1652822 w 1735118"/>
                  <a:gd name="connsiteY4" fmla="*/ 428604 h 1359131"/>
                  <a:gd name="connsiteX5" fmla="*/ 1652822 w 1735118"/>
                  <a:gd name="connsiteY5" fmla="*/ 749674 h 1359131"/>
                  <a:gd name="connsiteX6" fmla="*/ 1656184 w 1735118"/>
                  <a:gd name="connsiteY6" fmla="*/ 1020109 h 1359131"/>
                  <a:gd name="connsiteX7" fmla="*/ 1452157 w 1735118"/>
                  <a:gd name="connsiteY7" fmla="*/ 1224136 h 1359131"/>
                  <a:gd name="connsiteX8" fmla="*/ 239746 w 1735118"/>
                  <a:gd name="connsiteY8" fmla="*/ 1224136 h 1359131"/>
                  <a:gd name="connsiteX9" fmla="*/ 89730 w 1735118"/>
                  <a:gd name="connsiteY9" fmla="*/ 1228955 h 1359131"/>
                  <a:gd name="connsiteX10" fmla="*/ 66766 w 1735118"/>
                  <a:gd name="connsiteY10" fmla="*/ 1355738 h 1359131"/>
                  <a:gd name="connsiteX11" fmla="*/ 7235 w 1735118"/>
                  <a:gd name="connsiteY11" fmla="*/ 1303350 h 1359131"/>
                  <a:gd name="connsiteX12" fmla="*/ 2472 w 1735118"/>
                  <a:gd name="connsiteY12" fmla="*/ 1217625 h 1359131"/>
                  <a:gd name="connsiteX13" fmla="*/ 0 w 1735118"/>
                  <a:gd name="connsiteY13" fmla="*/ 1020109 h 1359131"/>
                  <a:gd name="connsiteX14" fmla="*/ 0 w 1735118"/>
                  <a:gd name="connsiteY14" fmla="*/ 204027 h 1359131"/>
                  <a:gd name="connsiteX0" fmla="*/ 0 w 1786341"/>
                  <a:gd name="connsiteY0" fmla="*/ 204027 h 1359131"/>
                  <a:gd name="connsiteX1" fmla="*/ 204027 w 1786341"/>
                  <a:gd name="connsiteY1" fmla="*/ 0 h 1359131"/>
                  <a:gd name="connsiteX2" fmla="*/ 1452157 w 1786341"/>
                  <a:gd name="connsiteY2" fmla="*/ 0 h 1359131"/>
                  <a:gd name="connsiteX3" fmla="*/ 1656184 w 1786341"/>
                  <a:gd name="connsiteY3" fmla="*/ 204027 h 1359131"/>
                  <a:gd name="connsiteX4" fmla="*/ 1652822 w 1786341"/>
                  <a:gd name="connsiteY4" fmla="*/ 428604 h 1359131"/>
                  <a:gd name="connsiteX5" fmla="*/ 1652822 w 1786341"/>
                  <a:gd name="connsiteY5" fmla="*/ 749674 h 1359131"/>
                  <a:gd name="connsiteX6" fmla="*/ 1656184 w 1786341"/>
                  <a:gd name="connsiteY6" fmla="*/ 1020109 h 1359131"/>
                  <a:gd name="connsiteX7" fmla="*/ 1452157 w 1786341"/>
                  <a:gd name="connsiteY7" fmla="*/ 1224136 h 1359131"/>
                  <a:gd name="connsiteX8" fmla="*/ 239746 w 1786341"/>
                  <a:gd name="connsiteY8" fmla="*/ 1224136 h 1359131"/>
                  <a:gd name="connsiteX9" fmla="*/ 89730 w 1786341"/>
                  <a:gd name="connsiteY9" fmla="*/ 1228955 h 1359131"/>
                  <a:gd name="connsiteX10" fmla="*/ 66766 w 1786341"/>
                  <a:gd name="connsiteY10" fmla="*/ 1355738 h 1359131"/>
                  <a:gd name="connsiteX11" fmla="*/ 7235 w 1786341"/>
                  <a:gd name="connsiteY11" fmla="*/ 1303350 h 1359131"/>
                  <a:gd name="connsiteX12" fmla="*/ 2472 w 1786341"/>
                  <a:gd name="connsiteY12" fmla="*/ 1217625 h 1359131"/>
                  <a:gd name="connsiteX13" fmla="*/ 0 w 1786341"/>
                  <a:gd name="connsiteY13" fmla="*/ 1020109 h 1359131"/>
                  <a:gd name="connsiteX14" fmla="*/ 0 w 1786341"/>
                  <a:gd name="connsiteY14" fmla="*/ 204027 h 1359131"/>
                  <a:gd name="connsiteX0" fmla="*/ 0 w 1787803"/>
                  <a:gd name="connsiteY0" fmla="*/ 204027 h 1359131"/>
                  <a:gd name="connsiteX1" fmla="*/ 204027 w 1787803"/>
                  <a:gd name="connsiteY1" fmla="*/ 0 h 1359131"/>
                  <a:gd name="connsiteX2" fmla="*/ 1452157 w 1787803"/>
                  <a:gd name="connsiteY2" fmla="*/ 0 h 1359131"/>
                  <a:gd name="connsiteX3" fmla="*/ 1656184 w 1787803"/>
                  <a:gd name="connsiteY3" fmla="*/ 204027 h 1359131"/>
                  <a:gd name="connsiteX4" fmla="*/ 1652822 w 1787803"/>
                  <a:gd name="connsiteY4" fmla="*/ 428604 h 1359131"/>
                  <a:gd name="connsiteX5" fmla="*/ 1655822 w 1787803"/>
                  <a:gd name="connsiteY5" fmla="*/ 786022 h 1359131"/>
                  <a:gd name="connsiteX6" fmla="*/ 1656184 w 1787803"/>
                  <a:gd name="connsiteY6" fmla="*/ 1020109 h 1359131"/>
                  <a:gd name="connsiteX7" fmla="*/ 1452157 w 1787803"/>
                  <a:gd name="connsiteY7" fmla="*/ 1224136 h 1359131"/>
                  <a:gd name="connsiteX8" fmla="*/ 239746 w 1787803"/>
                  <a:gd name="connsiteY8" fmla="*/ 1224136 h 1359131"/>
                  <a:gd name="connsiteX9" fmla="*/ 89730 w 1787803"/>
                  <a:gd name="connsiteY9" fmla="*/ 1228955 h 1359131"/>
                  <a:gd name="connsiteX10" fmla="*/ 66766 w 1787803"/>
                  <a:gd name="connsiteY10" fmla="*/ 1355738 h 1359131"/>
                  <a:gd name="connsiteX11" fmla="*/ 7235 w 1787803"/>
                  <a:gd name="connsiteY11" fmla="*/ 1303350 h 1359131"/>
                  <a:gd name="connsiteX12" fmla="*/ 2472 w 1787803"/>
                  <a:gd name="connsiteY12" fmla="*/ 1217625 h 1359131"/>
                  <a:gd name="connsiteX13" fmla="*/ 0 w 1787803"/>
                  <a:gd name="connsiteY13" fmla="*/ 1020109 h 1359131"/>
                  <a:gd name="connsiteX14" fmla="*/ 0 w 178780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786022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2473"/>
                  <a:gd name="connsiteY0" fmla="*/ 204027 h 1359131"/>
                  <a:gd name="connsiteX1" fmla="*/ 204027 w 1792473"/>
                  <a:gd name="connsiteY1" fmla="*/ 0 h 1359131"/>
                  <a:gd name="connsiteX2" fmla="*/ 1452157 w 1792473"/>
                  <a:gd name="connsiteY2" fmla="*/ 0 h 1359131"/>
                  <a:gd name="connsiteX3" fmla="*/ 1656184 w 1792473"/>
                  <a:gd name="connsiteY3" fmla="*/ 204027 h 1359131"/>
                  <a:gd name="connsiteX4" fmla="*/ 1661822 w 1792473"/>
                  <a:gd name="connsiteY4" fmla="*/ 446778 h 1359131"/>
                  <a:gd name="connsiteX5" fmla="*/ 1655822 w 1792473"/>
                  <a:gd name="connsiteY5" fmla="*/ 813283 h 1359131"/>
                  <a:gd name="connsiteX6" fmla="*/ 1656184 w 1792473"/>
                  <a:gd name="connsiteY6" fmla="*/ 1020109 h 1359131"/>
                  <a:gd name="connsiteX7" fmla="*/ 1452157 w 1792473"/>
                  <a:gd name="connsiteY7" fmla="*/ 1224136 h 1359131"/>
                  <a:gd name="connsiteX8" fmla="*/ 239746 w 1792473"/>
                  <a:gd name="connsiteY8" fmla="*/ 1224136 h 1359131"/>
                  <a:gd name="connsiteX9" fmla="*/ 89730 w 1792473"/>
                  <a:gd name="connsiteY9" fmla="*/ 1228955 h 1359131"/>
                  <a:gd name="connsiteX10" fmla="*/ 66766 w 1792473"/>
                  <a:gd name="connsiteY10" fmla="*/ 1355738 h 1359131"/>
                  <a:gd name="connsiteX11" fmla="*/ 7235 w 1792473"/>
                  <a:gd name="connsiteY11" fmla="*/ 1303350 h 1359131"/>
                  <a:gd name="connsiteX12" fmla="*/ 2472 w 1792473"/>
                  <a:gd name="connsiteY12" fmla="*/ 1217625 h 1359131"/>
                  <a:gd name="connsiteX13" fmla="*/ 0 w 1792473"/>
                  <a:gd name="connsiteY13" fmla="*/ 1020109 h 1359131"/>
                  <a:gd name="connsiteX14" fmla="*/ 0 w 1792473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90898"/>
                  <a:gd name="connsiteY0" fmla="*/ 204027 h 1359131"/>
                  <a:gd name="connsiteX1" fmla="*/ 204027 w 1790898"/>
                  <a:gd name="connsiteY1" fmla="*/ 0 h 1359131"/>
                  <a:gd name="connsiteX2" fmla="*/ 1452157 w 1790898"/>
                  <a:gd name="connsiteY2" fmla="*/ 0 h 1359131"/>
                  <a:gd name="connsiteX3" fmla="*/ 1656184 w 1790898"/>
                  <a:gd name="connsiteY3" fmla="*/ 204027 h 1359131"/>
                  <a:gd name="connsiteX4" fmla="*/ 1658822 w 1790898"/>
                  <a:gd name="connsiteY4" fmla="*/ 437692 h 1359131"/>
                  <a:gd name="connsiteX5" fmla="*/ 1655822 w 1790898"/>
                  <a:gd name="connsiteY5" fmla="*/ 813283 h 1359131"/>
                  <a:gd name="connsiteX6" fmla="*/ 1656184 w 1790898"/>
                  <a:gd name="connsiteY6" fmla="*/ 1020109 h 1359131"/>
                  <a:gd name="connsiteX7" fmla="*/ 1452157 w 1790898"/>
                  <a:gd name="connsiteY7" fmla="*/ 1224136 h 1359131"/>
                  <a:gd name="connsiteX8" fmla="*/ 239746 w 1790898"/>
                  <a:gd name="connsiteY8" fmla="*/ 1224136 h 1359131"/>
                  <a:gd name="connsiteX9" fmla="*/ 89730 w 1790898"/>
                  <a:gd name="connsiteY9" fmla="*/ 1228955 h 1359131"/>
                  <a:gd name="connsiteX10" fmla="*/ 66766 w 1790898"/>
                  <a:gd name="connsiteY10" fmla="*/ 1355738 h 1359131"/>
                  <a:gd name="connsiteX11" fmla="*/ 7235 w 1790898"/>
                  <a:gd name="connsiteY11" fmla="*/ 1303350 h 1359131"/>
                  <a:gd name="connsiteX12" fmla="*/ 2472 w 1790898"/>
                  <a:gd name="connsiteY12" fmla="*/ 1217625 h 1359131"/>
                  <a:gd name="connsiteX13" fmla="*/ 0 w 1790898"/>
                  <a:gd name="connsiteY13" fmla="*/ 1020109 h 1359131"/>
                  <a:gd name="connsiteX14" fmla="*/ 0 w 1790898"/>
                  <a:gd name="connsiteY14" fmla="*/ 204027 h 1359131"/>
                  <a:gd name="connsiteX0" fmla="*/ 0 w 1789340"/>
                  <a:gd name="connsiteY0" fmla="*/ 204027 h 1359131"/>
                  <a:gd name="connsiteX1" fmla="*/ 204027 w 1789340"/>
                  <a:gd name="connsiteY1" fmla="*/ 0 h 1359131"/>
                  <a:gd name="connsiteX2" fmla="*/ 1452157 w 1789340"/>
                  <a:gd name="connsiteY2" fmla="*/ 0 h 1359131"/>
                  <a:gd name="connsiteX3" fmla="*/ 1656184 w 1789340"/>
                  <a:gd name="connsiteY3" fmla="*/ 204027 h 1359131"/>
                  <a:gd name="connsiteX4" fmla="*/ 1655821 w 1789340"/>
                  <a:gd name="connsiteY4" fmla="*/ 437692 h 1359131"/>
                  <a:gd name="connsiteX5" fmla="*/ 1655822 w 1789340"/>
                  <a:gd name="connsiteY5" fmla="*/ 813283 h 1359131"/>
                  <a:gd name="connsiteX6" fmla="*/ 1656184 w 1789340"/>
                  <a:gd name="connsiteY6" fmla="*/ 1020109 h 1359131"/>
                  <a:gd name="connsiteX7" fmla="*/ 1452157 w 1789340"/>
                  <a:gd name="connsiteY7" fmla="*/ 1224136 h 1359131"/>
                  <a:gd name="connsiteX8" fmla="*/ 239746 w 1789340"/>
                  <a:gd name="connsiteY8" fmla="*/ 1224136 h 1359131"/>
                  <a:gd name="connsiteX9" fmla="*/ 89730 w 1789340"/>
                  <a:gd name="connsiteY9" fmla="*/ 1228955 h 1359131"/>
                  <a:gd name="connsiteX10" fmla="*/ 66766 w 1789340"/>
                  <a:gd name="connsiteY10" fmla="*/ 1355738 h 1359131"/>
                  <a:gd name="connsiteX11" fmla="*/ 7235 w 1789340"/>
                  <a:gd name="connsiteY11" fmla="*/ 1303350 h 1359131"/>
                  <a:gd name="connsiteX12" fmla="*/ 2472 w 1789340"/>
                  <a:gd name="connsiteY12" fmla="*/ 1217625 h 1359131"/>
                  <a:gd name="connsiteX13" fmla="*/ 0 w 1789340"/>
                  <a:gd name="connsiteY13" fmla="*/ 1020109 h 1359131"/>
                  <a:gd name="connsiteX14" fmla="*/ 0 w 1789340"/>
                  <a:gd name="connsiteY14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87826"/>
                  <a:gd name="connsiteY0" fmla="*/ 204027 h 1359131"/>
                  <a:gd name="connsiteX1" fmla="*/ 204027 w 1787826"/>
                  <a:gd name="connsiteY1" fmla="*/ 0 h 1359131"/>
                  <a:gd name="connsiteX2" fmla="*/ 1452157 w 1787826"/>
                  <a:gd name="connsiteY2" fmla="*/ 0 h 1359131"/>
                  <a:gd name="connsiteX3" fmla="*/ 1656184 w 1787826"/>
                  <a:gd name="connsiteY3" fmla="*/ 204027 h 1359131"/>
                  <a:gd name="connsiteX4" fmla="*/ 1655821 w 1787826"/>
                  <a:gd name="connsiteY4" fmla="*/ 437692 h 1359131"/>
                  <a:gd name="connsiteX5" fmla="*/ 1787826 w 1787826"/>
                  <a:gd name="connsiteY5" fmla="*/ 646689 h 1359131"/>
                  <a:gd name="connsiteX6" fmla="*/ 1655822 w 1787826"/>
                  <a:gd name="connsiteY6" fmla="*/ 813283 h 1359131"/>
                  <a:gd name="connsiteX7" fmla="*/ 1656184 w 1787826"/>
                  <a:gd name="connsiteY7" fmla="*/ 1020109 h 1359131"/>
                  <a:gd name="connsiteX8" fmla="*/ 1452157 w 1787826"/>
                  <a:gd name="connsiteY8" fmla="*/ 1224136 h 1359131"/>
                  <a:gd name="connsiteX9" fmla="*/ 239746 w 1787826"/>
                  <a:gd name="connsiteY9" fmla="*/ 1224136 h 1359131"/>
                  <a:gd name="connsiteX10" fmla="*/ 89730 w 1787826"/>
                  <a:gd name="connsiteY10" fmla="*/ 1228955 h 1359131"/>
                  <a:gd name="connsiteX11" fmla="*/ 66766 w 1787826"/>
                  <a:gd name="connsiteY11" fmla="*/ 1355738 h 1359131"/>
                  <a:gd name="connsiteX12" fmla="*/ 7235 w 1787826"/>
                  <a:gd name="connsiteY12" fmla="*/ 1303350 h 1359131"/>
                  <a:gd name="connsiteX13" fmla="*/ 2472 w 1787826"/>
                  <a:gd name="connsiteY13" fmla="*/ 1217625 h 1359131"/>
                  <a:gd name="connsiteX14" fmla="*/ 0 w 1787826"/>
                  <a:gd name="connsiteY14" fmla="*/ 1020109 h 1359131"/>
                  <a:gd name="connsiteX15" fmla="*/ 0 w 1787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37692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13283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582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328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  <a:gd name="connsiteX0" fmla="*/ 0 w 1766826"/>
                  <a:gd name="connsiteY0" fmla="*/ 204027 h 1359131"/>
                  <a:gd name="connsiteX1" fmla="*/ 204027 w 1766826"/>
                  <a:gd name="connsiteY1" fmla="*/ 0 h 1359131"/>
                  <a:gd name="connsiteX2" fmla="*/ 1452157 w 1766826"/>
                  <a:gd name="connsiteY2" fmla="*/ 0 h 1359131"/>
                  <a:gd name="connsiteX3" fmla="*/ 1656184 w 1766826"/>
                  <a:gd name="connsiteY3" fmla="*/ 204027 h 1359131"/>
                  <a:gd name="connsiteX4" fmla="*/ 1658361 w 1766826"/>
                  <a:gd name="connsiteY4" fmla="*/ 411350 h 1359131"/>
                  <a:gd name="connsiteX5" fmla="*/ 1766826 w 1766826"/>
                  <a:gd name="connsiteY5" fmla="*/ 634573 h 1359131"/>
                  <a:gd name="connsiteX6" fmla="*/ 1655822 w 1766826"/>
                  <a:gd name="connsiteY6" fmla="*/ 823821 h 1359131"/>
                  <a:gd name="connsiteX7" fmla="*/ 1656184 w 1766826"/>
                  <a:gd name="connsiteY7" fmla="*/ 1020109 h 1359131"/>
                  <a:gd name="connsiteX8" fmla="*/ 1452157 w 1766826"/>
                  <a:gd name="connsiteY8" fmla="*/ 1224136 h 1359131"/>
                  <a:gd name="connsiteX9" fmla="*/ 239746 w 1766826"/>
                  <a:gd name="connsiteY9" fmla="*/ 1224136 h 1359131"/>
                  <a:gd name="connsiteX10" fmla="*/ 89730 w 1766826"/>
                  <a:gd name="connsiteY10" fmla="*/ 1228955 h 1359131"/>
                  <a:gd name="connsiteX11" fmla="*/ 66766 w 1766826"/>
                  <a:gd name="connsiteY11" fmla="*/ 1355738 h 1359131"/>
                  <a:gd name="connsiteX12" fmla="*/ 7235 w 1766826"/>
                  <a:gd name="connsiteY12" fmla="*/ 1303350 h 1359131"/>
                  <a:gd name="connsiteX13" fmla="*/ 2472 w 1766826"/>
                  <a:gd name="connsiteY13" fmla="*/ 1217625 h 1359131"/>
                  <a:gd name="connsiteX14" fmla="*/ 0 w 1766826"/>
                  <a:gd name="connsiteY14" fmla="*/ 1020109 h 1359131"/>
                  <a:gd name="connsiteX15" fmla="*/ 0 w 1766826"/>
                  <a:gd name="connsiteY15" fmla="*/ 204027 h 135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6826" h="1359131">
                    <a:moveTo>
                      <a:pt x="0" y="204027"/>
                    </a:moveTo>
                    <a:cubicBezTo>
                      <a:pt x="0" y="91346"/>
                      <a:pt x="91346" y="0"/>
                      <a:pt x="204027" y="0"/>
                    </a:cubicBezTo>
                    <a:lnTo>
                      <a:pt x="1452157" y="0"/>
                    </a:lnTo>
                    <a:cubicBezTo>
                      <a:pt x="1564838" y="0"/>
                      <a:pt x="1656184" y="91346"/>
                      <a:pt x="1656184" y="204027"/>
                    </a:cubicBezTo>
                    <a:cubicBezTo>
                      <a:pt x="1657063" y="281915"/>
                      <a:pt x="1657482" y="333462"/>
                      <a:pt x="1658361" y="411350"/>
                    </a:cubicBezTo>
                    <a:lnTo>
                      <a:pt x="1766826" y="634573"/>
                    </a:lnTo>
                    <a:lnTo>
                      <a:pt x="1655822" y="823821"/>
                    </a:lnTo>
                    <a:cubicBezTo>
                      <a:pt x="1656943" y="913966"/>
                      <a:pt x="1655063" y="929964"/>
                      <a:pt x="1656184" y="1020109"/>
                    </a:cubicBezTo>
                    <a:cubicBezTo>
                      <a:pt x="1656184" y="1132790"/>
                      <a:pt x="1564838" y="1224136"/>
                      <a:pt x="1452157" y="1224136"/>
                    </a:cubicBezTo>
                    <a:lnTo>
                      <a:pt x="239746" y="1224136"/>
                    </a:lnTo>
                    <a:cubicBezTo>
                      <a:pt x="13349" y="1228344"/>
                      <a:pt x="118560" y="1225408"/>
                      <a:pt x="89730" y="1228955"/>
                    </a:cubicBezTo>
                    <a:cubicBezTo>
                      <a:pt x="54830" y="1234546"/>
                      <a:pt x="81190" y="1346744"/>
                      <a:pt x="66766" y="1355738"/>
                    </a:cubicBezTo>
                    <a:cubicBezTo>
                      <a:pt x="28014" y="1368940"/>
                      <a:pt x="10999" y="1341981"/>
                      <a:pt x="7235" y="1303350"/>
                    </a:cubicBezTo>
                    <a:cubicBezTo>
                      <a:pt x="3662" y="1277950"/>
                      <a:pt x="3678" y="1264832"/>
                      <a:pt x="2472" y="1217625"/>
                    </a:cubicBezTo>
                    <a:cubicBezTo>
                      <a:pt x="1663" y="1168831"/>
                      <a:pt x="3587" y="1189836"/>
                      <a:pt x="0" y="1020109"/>
                    </a:cubicBezTo>
                    <a:lnTo>
                      <a:pt x="0" y="204027"/>
                    </a:lnTo>
                    <a:close/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" name="Forma libre 26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>
                  <a:gd name="connsiteX0" fmla="*/ 95250 w 95250"/>
                  <a:gd name="connsiteY0" fmla="*/ 0 h 90488"/>
                  <a:gd name="connsiteX1" fmla="*/ 35719 w 95250"/>
                  <a:gd name="connsiteY1" fmla="*/ 16669 h 90488"/>
                  <a:gd name="connsiteX2" fmla="*/ 7144 w 95250"/>
                  <a:gd name="connsiteY2" fmla="*/ 52388 h 90488"/>
                  <a:gd name="connsiteX3" fmla="*/ 0 w 95250"/>
                  <a:gd name="connsiteY3" fmla="*/ 90488 h 90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0488">
                    <a:moveTo>
                      <a:pt x="95250" y="0"/>
                    </a:moveTo>
                    <a:cubicBezTo>
                      <a:pt x="72826" y="3969"/>
                      <a:pt x="50403" y="7938"/>
                      <a:pt x="35719" y="16669"/>
                    </a:cubicBezTo>
                    <a:cubicBezTo>
                      <a:pt x="21035" y="25400"/>
                      <a:pt x="13097" y="40085"/>
                      <a:pt x="7144" y="52388"/>
                    </a:cubicBezTo>
                    <a:cubicBezTo>
                      <a:pt x="1191" y="64691"/>
                      <a:pt x="0" y="90488"/>
                      <a:pt x="0" y="90488"/>
                    </a:cubicBezTo>
                  </a:path>
                </a:pathLst>
              </a:cu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P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5" name="CuadroTexto 24"/>
            <p:cNvSpPr txBox="1"/>
            <p:nvPr/>
          </p:nvSpPr>
          <p:spPr>
            <a:xfrm>
              <a:off x="1482349" y="2642392"/>
              <a:ext cx="1554272" cy="440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841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2" name="Rectángulo 11"/>
          <p:cNvSpPr/>
          <p:nvPr userDrawn="1"/>
        </p:nvSpPr>
        <p:spPr>
          <a:xfrm>
            <a:off x="654965" y="3758831"/>
            <a:ext cx="11147569" cy="99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Content Placeholder 2"/>
          <p:cNvSpPr>
            <a:spLocks noGrp="1"/>
          </p:cNvSpPr>
          <p:nvPr>
            <p:ph idx="19"/>
          </p:nvPr>
        </p:nvSpPr>
        <p:spPr>
          <a:xfrm>
            <a:off x="3159233" y="3916334"/>
            <a:ext cx="3801600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0"/>
          </p:nvPr>
        </p:nvSpPr>
        <p:spPr>
          <a:xfrm>
            <a:off x="7281335" y="3916334"/>
            <a:ext cx="3802664" cy="31813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21"/>
          </p:nvPr>
        </p:nvSpPr>
        <p:spPr>
          <a:xfrm>
            <a:off x="835895" y="4215323"/>
            <a:ext cx="1713976" cy="738577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16" name="Marcador de posición de imagen 15"/>
          <p:cNvSpPr>
            <a:spLocks noGrp="1"/>
          </p:cNvSpPr>
          <p:nvPr>
            <p:ph type="pic" sz="quarter" idx="22"/>
          </p:nvPr>
        </p:nvSpPr>
        <p:spPr>
          <a:xfrm>
            <a:off x="3160184" y="2120900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7" name="Marcador de posición de imagen 15"/>
          <p:cNvSpPr>
            <a:spLocks noGrp="1"/>
          </p:cNvSpPr>
          <p:nvPr>
            <p:ph type="pic" sz="quarter" idx="23"/>
          </p:nvPr>
        </p:nvSpPr>
        <p:spPr>
          <a:xfrm>
            <a:off x="7281335" y="210486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8" name="Marcador de posición de imagen 15"/>
          <p:cNvSpPr>
            <a:spLocks noGrp="1"/>
          </p:cNvSpPr>
          <p:nvPr>
            <p:ph type="pic" sz="quarter" idx="24"/>
          </p:nvPr>
        </p:nvSpPr>
        <p:spPr>
          <a:xfrm>
            <a:off x="7275840" y="433722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  <p:sp>
        <p:nvSpPr>
          <p:cNvPr id="39" name="Marcador de posición de imagen 15"/>
          <p:cNvSpPr>
            <a:spLocks noGrp="1"/>
          </p:cNvSpPr>
          <p:nvPr>
            <p:ph type="pic" sz="quarter" idx="25"/>
          </p:nvPr>
        </p:nvSpPr>
        <p:spPr>
          <a:xfrm>
            <a:off x="3184952" y="4337227"/>
            <a:ext cx="3801533" cy="1511300"/>
          </a:xfrm>
        </p:spPr>
        <p:txBody>
          <a:bodyPr/>
          <a:lstStyle/>
          <a:p>
            <a:r>
              <a:rPr lang="es-ES" smtClean="0"/>
              <a:t>Haga clic en el icono para agregar una imagen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6737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0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ril de 2017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0A9ED6-016A-40BD-BC0C-A24D14D2362E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465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32"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637900-BBEE-4A5D-B65A-B9E4D8530F6E}" type="datetime1">
              <a:rPr lang="en-US"/>
              <a:pPr>
                <a:defRPr/>
              </a:pPr>
              <a:t>2/28/2018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5E690B-FDBE-4899-94DC-27C2AD0C05C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194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1748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nsajes/Pregun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8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435" y="301214"/>
            <a:ext cx="9343711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569" y="1484784"/>
            <a:ext cx="11374967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sp>
        <p:nvSpPr>
          <p:cNvPr id="7" name="Rectángulo redondeado 6"/>
          <p:cNvSpPr/>
          <p:nvPr/>
        </p:nvSpPr>
        <p:spPr>
          <a:xfrm>
            <a:off x="395001" y="374650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406641" y="386880"/>
            <a:ext cx="480484" cy="37782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PE" dirty="0" smtClean="0"/>
              <a:t>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604567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con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2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4" y="301214"/>
            <a:ext cx="9535732" cy="1057686"/>
          </a:xfrm>
        </p:spPr>
        <p:txBody>
          <a:bodyPr anchor="t"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5414" y="1484784"/>
            <a:ext cx="10987121" cy="4889029"/>
          </a:xfr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13" hasCustomPrompt="1"/>
          </p:nvPr>
        </p:nvSpPr>
        <p:spPr>
          <a:xfrm>
            <a:off x="171079" y="111125"/>
            <a:ext cx="442003" cy="6386494"/>
          </a:xfrm>
          <a:solidFill>
            <a:schemeClr val="accent1"/>
          </a:solidFill>
        </p:spPr>
        <p:txBody>
          <a:bodyPr vert="horz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  <a:lvl4pPr marL="1371600" indent="0" algn="ctr">
              <a:buFontTx/>
              <a:buNone/>
              <a:defRPr/>
            </a:lvl4pPr>
            <a:lvl5pPr marL="1828800" indent="0" algn="ctr">
              <a:buFontTx/>
              <a:buNone/>
              <a:defRPr/>
            </a:lvl5pPr>
          </a:lstStyle>
          <a:p>
            <a:pPr lvl="0"/>
            <a:r>
              <a:rPr lang="es-PE" dirty="0" smtClean="0"/>
              <a:t>CATEGORIA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680838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6" name="Diapositiva de think-cell" r:id="rId4" imgW="420" imgH="420" progId="TCLayout.ActiveDocument.1">
                  <p:embed/>
                </p:oleObj>
              </mc:Choice>
              <mc:Fallback>
                <p:oleObj name="Diapositiva de think-cell" r:id="rId4" imgW="420" imgH="42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s-PE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sp>
        <p:nvSpPr>
          <p:cNvPr id="5" name="Rectángulo 4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479" y="347663"/>
            <a:ext cx="10668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547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9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42" Type="http://schemas.openxmlformats.org/officeDocument/2006/relationships/slideLayout" Target="../slideLayouts/slideLayout57.xml"/><Relationship Id="rId47" Type="http://schemas.openxmlformats.org/officeDocument/2006/relationships/slideLayout" Target="../slideLayouts/slideLayout62.xml"/><Relationship Id="rId50" Type="http://schemas.openxmlformats.org/officeDocument/2006/relationships/slideLayout" Target="../slideLayouts/slideLayout65.xml"/><Relationship Id="rId55" Type="http://schemas.openxmlformats.org/officeDocument/2006/relationships/tags" Target="../tags/tag16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slideLayout" Target="../slideLayouts/slideLayout52.xml"/><Relationship Id="rId40" Type="http://schemas.openxmlformats.org/officeDocument/2006/relationships/slideLayout" Target="../slideLayouts/slideLayout55.xml"/><Relationship Id="rId45" Type="http://schemas.openxmlformats.org/officeDocument/2006/relationships/slideLayout" Target="../slideLayouts/slideLayout60.xml"/><Relationship Id="rId53" Type="http://schemas.openxmlformats.org/officeDocument/2006/relationships/theme" Target="../theme/theme2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43" Type="http://schemas.openxmlformats.org/officeDocument/2006/relationships/slideLayout" Target="../slideLayouts/slideLayout58.xml"/><Relationship Id="rId48" Type="http://schemas.openxmlformats.org/officeDocument/2006/relationships/slideLayout" Target="../slideLayouts/slideLayout63.xml"/><Relationship Id="rId56" Type="http://schemas.openxmlformats.org/officeDocument/2006/relationships/image" Target="../media/image2.jpeg"/><Relationship Id="rId8" Type="http://schemas.openxmlformats.org/officeDocument/2006/relationships/slideLayout" Target="../slideLayouts/slideLayout23.xml"/><Relationship Id="rId51" Type="http://schemas.openxmlformats.org/officeDocument/2006/relationships/slideLayout" Target="../slideLayouts/slideLayout66.x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53.xml"/><Relationship Id="rId4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56.xml"/><Relationship Id="rId54" Type="http://schemas.openxmlformats.org/officeDocument/2006/relationships/vmlDrawing" Target="../drawings/vmlDrawing14.v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51.xml"/><Relationship Id="rId49" Type="http://schemas.openxmlformats.org/officeDocument/2006/relationships/slideLayout" Target="../slideLayouts/slideLayout64.xml"/><Relationship Id="rId57" Type="http://schemas.openxmlformats.org/officeDocument/2006/relationships/oleObject" Target="../embeddings/oleObject16.bin"/><Relationship Id="rId10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46.xml"/><Relationship Id="rId44" Type="http://schemas.openxmlformats.org/officeDocument/2006/relationships/slideLayout" Target="../slideLayouts/slideLayout59.xml"/><Relationship Id="rId52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" name="Diapositiva de think-cell" r:id="rId20" imgW="344" imgH="344" progId="TCLayout.ActiveDocument.1">
                  <p:embed/>
                </p:oleObj>
              </mc:Choice>
              <mc:Fallback>
                <p:oleObj name="Diapositiva de think-cell" r:id="rId20" imgW="344" imgH="344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2598" y="6604620"/>
            <a:ext cx="52195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27568" y="374650"/>
            <a:ext cx="10382251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PE" dirty="0" smtClean="0"/>
              <a:t>Haga clic para modificar el estilo de título del patrón</a:t>
            </a:r>
            <a:endParaRPr lang="en-US" altLang="es-PE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27569" y="1393825"/>
            <a:ext cx="11374967" cy="497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PE" dirty="0" smtClean="0"/>
              <a:t>Haga clic para modificar el estilo de texto del patrón</a:t>
            </a:r>
          </a:p>
          <a:p>
            <a:pPr lvl="1"/>
            <a:r>
              <a:rPr lang="es-ES" altLang="es-PE" dirty="0" smtClean="0"/>
              <a:t>Segundo nivel</a:t>
            </a:r>
          </a:p>
          <a:p>
            <a:pPr lvl="2"/>
            <a:r>
              <a:rPr lang="es-ES" altLang="es-PE" dirty="0" smtClean="0"/>
              <a:t>Tercer nivel</a:t>
            </a:r>
          </a:p>
          <a:p>
            <a:pPr lvl="3"/>
            <a:r>
              <a:rPr lang="es-ES" altLang="es-PE" dirty="0" smtClean="0"/>
              <a:t>Cuarto nivel</a:t>
            </a:r>
          </a:p>
          <a:p>
            <a:pPr lvl="4"/>
            <a:r>
              <a:rPr lang="es-ES" altLang="es-PE" dirty="0" smtClean="0"/>
              <a:t>Quinto nivel</a:t>
            </a:r>
            <a:endParaRPr lang="en-US" altLang="es-PE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0419" y="6604620"/>
            <a:ext cx="1921933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PE" smtClean="0"/>
              <a:t>abril de 2017</a:t>
            </a:r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58483" y="6604620"/>
            <a:ext cx="6885679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endParaRPr lang="es-PE"/>
          </a:p>
        </p:txBody>
      </p:sp>
      <p:cxnSp>
        <p:nvCxnSpPr>
          <p:cNvPr id="17" name="Conector recto 16"/>
          <p:cNvCxnSpPr/>
          <p:nvPr/>
        </p:nvCxnSpPr>
        <p:spPr>
          <a:xfrm>
            <a:off x="11472597" y="6655721"/>
            <a:ext cx="0" cy="144016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1351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400" kern="1200">
          <a:solidFill>
            <a:schemeClr val="accent1">
              <a:lumMod val="75000"/>
            </a:schemeClr>
          </a:solidFill>
          <a:latin typeface="Arial"/>
          <a:ea typeface="MS PGothic" panose="020B0600070205080204" pitchFamily="34" charset="-128"/>
          <a:cs typeface="Arial"/>
        </a:defRPr>
      </a:lvl1pPr>
      <a:lvl2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2pPr>
      <a:lvl3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3pPr>
      <a:lvl4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4pPr>
      <a:lvl5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5pPr>
      <a:lvl6pPr marL="457200"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6pPr>
      <a:lvl7pPr marL="914400"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7pPr>
      <a:lvl8pPr marL="1371600"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8pPr>
      <a:lvl9pPr marL="1828800"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/>
          <a:ea typeface="MS PGothic" panose="020B0600070205080204" pitchFamily="34" charset="-128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/>
          <a:ea typeface="MS PGothic" panose="020B0600070205080204" pitchFamily="34" charset="-128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70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/>
          <a:ea typeface="MS PGothic" panose="020B0600070205080204" pitchFamily="34" charset="-128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80000"/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/>
          <a:ea typeface="MS PGothic" panose="020B0600070205080204" pitchFamily="34" charset="-128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chemeClr val="accent5"/>
        </a:buClr>
        <a:buSzPct val="70000"/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Arial"/>
          <a:ea typeface="MS PGothic" panose="020B0600070205080204" pitchFamily="34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872">
          <p15:clr>
            <a:srgbClr val="F26B43"/>
          </p15:clr>
        </p15:guide>
        <p15:guide id="4" orient="horz" pos="4024">
          <p15:clr>
            <a:srgbClr val="F26B43"/>
          </p15:clr>
        </p15:guide>
        <p15:guide id="5" pos="256">
          <p15:clr>
            <a:srgbClr val="F26B43"/>
          </p15:clr>
        </p15:guide>
        <p15:guide id="6" pos="745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2273433322"/>
              </p:ext>
            </p:extLst>
          </p:nvPr>
        </p:nvGraphicFramePr>
        <p:xfrm>
          <a:off x="2119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7" name="Diapositiva de think-cell" r:id="rId57" imgW="344" imgH="344" progId="TCLayout.ActiveDocument.1">
                  <p:embed/>
                </p:oleObj>
              </mc:Choice>
              <mc:Fallback>
                <p:oleObj name="Diapositiva de think-cell" r:id="rId57" imgW="344" imgH="344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2119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2604" y="6604632"/>
            <a:ext cx="52195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CF276D-F836-45E4-90EB-1FBF172D466C}" type="slidenum">
              <a:rPr kumimoji="0" lang="en-US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altLang="es-P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27574" y="374650"/>
            <a:ext cx="10382251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PE" dirty="0" smtClean="0"/>
              <a:t>Haga clic para modificar el estilo de título del patrón</a:t>
            </a:r>
            <a:endParaRPr lang="en-US" altLang="es-PE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27569" y="1393825"/>
            <a:ext cx="11374967" cy="497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PE" dirty="0" smtClean="0"/>
              <a:t>Haga clic para modificar el estilo de texto del patrón</a:t>
            </a:r>
          </a:p>
          <a:p>
            <a:pPr lvl="1"/>
            <a:r>
              <a:rPr lang="es-ES" altLang="es-PE" dirty="0" smtClean="0"/>
              <a:t>Segundo nivel</a:t>
            </a:r>
          </a:p>
          <a:p>
            <a:pPr lvl="2"/>
            <a:r>
              <a:rPr lang="es-ES" altLang="es-PE" dirty="0" smtClean="0"/>
              <a:t>Tercer nivel</a:t>
            </a:r>
          </a:p>
          <a:p>
            <a:pPr lvl="3"/>
            <a:r>
              <a:rPr lang="es-ES" altLang="es-PE" dirty="0" smtClean="0"/>
              <a:t>Cuarto nivel</a:t>
            </a:r>
          </a:p>
          <a:p>
            <a:pPr lvl="4"/>
            <a:r>
              <a:rPr lang="es-ES" altLang="es-PE" dirty="0" smtClean="0"/>
              <a:t>Quinto nivel</a:t>
            </a:r>
            <a:endParaRPr lang="en-US" altLang="es-PE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0425" y="6604632"/>
            <a:ext cx="1921933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altLang="es-P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bril de 2017</a:t>
            </a:r>
            <a:endParaRPr kumimoji="0" lang="en-US" altLang="es-P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58489" y="6604632"/>
            <a:ext cx="6885679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Conector recto 16"/>
          <p:cNvCxnSpPr/>
          <p:nvPr/>
        </p:nvCxnSpPr>
        <p:spPr>
          <a:xfrm>
            <a:off x="11472597" y="6655721"/>
            <a:ext cx="0" cy="144016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076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  <p:sldLayoutId id="2147483712" r:id="rId36"/>
    <p:sldLayoutId id="2147483713" r:id="rId37"/>
    <p:sldLayoutId id="2147483714" r:id="rId38"/>
    <p:sldLayoutId id="2147483715" r:id="rId39"/>
    <p:sldLayoutId id="2147483716" r:id="rId40"/>
    <p:sldLayoutId id="2147483717" r:id="rId41"/>
    <p:sldLayoutId id="2147483718" r:id="rId42"/>
    <p:sldLayoutId id="2147483719" r:id="rId43"/>
    <p:sldLayoutId id="2147483720" r:id="rId44"/>
    <p:sldLayoutId id="2147483721" r:id="rId45"/>
    <p:sldLayoutId id="2147483722" r:id="rId46"/>
    <p:sldLayoutId id="2147483723" r:id="rId47"/>
    <p:sldLayoutId id="2147483724" r:id="rId48"/>
    <p:sldLayoutId id="2147483725" r:id="rId49"/>
    <p:sldLayoutId id="2147483726" r:id="rId50"/>
    <p:sldLayoutId id="2147483727" r:id="rId51"/>
    <p:sldLayoutId id="2147483729" r:id="rId5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400" kern="1200">
          <a:solidFill>
            <a:schemeClr val="accent1">
              <a:lumMod val="75000"/>
            </a:schemeClr>
          </a:solidFill>
          <a:latin typeface="Arial"/>
          <a:ea typeface="MS PGothic" panose="020B0600070205080204" pitchFamily="34" charset="-128"/>
          <a:cs typeface="Arial"/>
        </a:defRPr>
      </a:lvl1pPr>
      <a:lvl2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2pPr>
      <a:lvl3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3pPr>
      <a:lvl4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4pPr>
      <a:lvl5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5pPr>
      <a:lvl6pPr marL="457200"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6pPr>
      <a:lvl7pPr marL="914400"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7pPr>
      <a:lvl8pPr marL="1371600"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8pPr>
      <a:lvl9pPr marL="1828800"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panose="020B0604020202020204" pitchFamily="34" charset="0"/>
          <a:ea typeface="MS PGothic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/>
          <a:ea typeface="MS PGothic" panose="020B0600070205080204" pitchFamily="34" charset="-128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/>
          <a:ea typeface="MS PGothic" panose="020B0600070205080204" pitchFamily="34" charset="-128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70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/>
          <a:ea typeface="MS PGothic" panose="020B0600070205080204" pitchFamily="34" charset="-128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80000"/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/>
          <a:ea typeface="MS PGothic" panose="020B0600070205080204" pitchFamily="34" charset="-128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chemeClr val="accent5"/>
        </a:buClr>
        <a:buSzPct val="70000"/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Arial"/>
          <a:ea typeface="MS PGothic" panose="020B0600070205080204" pitchFamily="34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872">
          <p15:clr>
            <a:srgbClr val="F26B43"/>
          </p15:clr>
        </p15:guide>
        <p15:guide id="4" orient="horz" pos="4024">
          <p15:clr>
            <a:srgbClr val="F26B43"/>
          </p15:clr>
        </p15:guide>
        <p15:guide id="5" pos="256">
          <p15:clr>
            <a:srgbClr val="F26B43"/>
          </p15:clr>
        </p15:guide>
        <p15:guide id="6" pos="74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1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2.xml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1"/>
          <p:cNvSpPr>
            <a:spLocks noGrp="1"/>
          </p:cNvSpPr>
          <p:nvPr>
            <p:ph type="ctrTitle"/>
          </p:nvPr>
        </p:nvSpPr>
        <p:spPr>
          <a:xfrm>
            <a:off x="489862" y="3051881"/>
            <a:ext cx="10358666" cy="1470025"/>
          </a:xfrm>
        </p:spPr>
        <p:txBody>
          <a:bodyPr/>
          <a:lstStyle/>
          <a:p>
            <a:r>
              <a:rPr lang="es-PE" dirty="0" smtClean="0"/>
              <a:t>Análisis de Cuadre de Palancas Digitales</a:t>
            </a:r>
            <a:endParaRPr lang="es-PE" dirty="0"/>
          </a:p>
        </p:txBody>
      </p:sp>
      <p:sp>
        <p:nvSpPr>
          <p:cNvPr id="7" name="Subtítulo 12"/>
          <p:cNvSpPr>
            <a:spLocks noGrp="1"/>
          </p:cNvSpPr>
          <p:nvPr>
            <p:ph type="subTitle" idx="1"/>
          </p:nvPr>
        </p:nvSpPr>
        <p:spPr>
          <a:xfrm>
            <a:off x="505408" y="4653136"/>
            <a:ext cx="8534400" cy="696177"/>
          </a:xfrm>
        </p:spPr>
        <p:txBody>
          <a:bodyPr/>
          <a:lstStyle/>
          <a:p>
            <a:r>
              <a:rPr lang="es-PE" sz="2000" b="1" dirty="0" smtClean="0"/>
              <a:t>Febrero 2018</a:t>
            </a:r>
          </a:p>
        </p:txBody>
      </p:sp>
      <p:sp>
        <p:nvSpPr>
          <p:cNvPr id="2" name="Rectángulo 1"/>
          <p:cNvSpPr/>
          <p:nvPr/>
        </p:nvSpPr>
        <p:spPr>
          <a:xfrm>
            <a:off x="9158748" y="5349313"/>
            <a:ext cx="2492478" cy="13317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15825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10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contenido 4"/>
          <p:cNvSpPr>
            <a:spLocks noGrp="1"/>
          </p:cNvSpPr>
          <p:nvPr>
            <p:ph idx="20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contenido 5"/>
          <p:cNvSpPr>
            <a:spLocks noGrp="1"/>
          </p:cNvSpPr>
          <p:nvPr>
            <p:ph idx="2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contenido 6"/>
          <p:cNvSpPr>
            <a:spLocks noGrp="1"/>
          </p:cNvSpPr>
          <p:nvPr>
            <p:ph idx="22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8" name="Marcador de contenido 7"/>
          <p:cNvSpPr>
            <a:spLocks noGrp="1"/>
          </p:cNvSpPr>
          <p:nvPr>
            <p:ph idx="23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contenido 8"/>
          <p:cNvSpPr>
            <a:spLocks noGrp="1"/>
          </p:cNvSpPr>
          <p:nvPr>
            <p:ph idx="24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10" name="Marcador de contenido 9"/>
          <p:cNvSpPr>
            <a:spLocks noGrp="1"/>
          </p:cNvSpPr>
          <p:nvPr>
            <p:ph idx="25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11" name="Marcador de contenido 10"/>
          <p:cNvSpPr>
            <a:spLocks noGrp="1"/>
          </p:cNvSpPr>
          <p:nvPr>
            <p:ph idx="26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0227183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11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contenido 4"/>
          <p:cNvSpPr>
            <a:spLocks noGrp="1"/>
          </p:cNvSpPr>
          <p:nvPr>
            <p:ph idx="20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contenido 5"/>
          <p:cNvSpPr>
            <a:spLocks noGrp="1"/>
          </p:cNvSpPr>
          <p:nvPr>
            <p:ph idx="2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contenido 6"/>
          <p:cNvSpPr>
            <a:spLocks noGrp="1"/>
          </p:cNvSpPr>
          <p:nvPr>
            <p:ph idx="22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8" name="Marcador de contenido 7"/>
          <p:cNvSpPr>
            <a:spLocks noGrp="1"/>
          </p:cNvSpPr>
          <p:nvPr>
            <p:ph idx="23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contenido 8"/>
          <p:cNvSpPr>
            <a:spLocks noGrp="1"/>
          </p:cNvSpPr>
          <p:nvPr>
            <p:ph idx="24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10" name="Marcador de contenido 9"/>
          <p:cNvSpPr>
            <a:spLocks noGrp="1"/>
          </p:cNvSpPr>
          <p:nvPr>
            <p:ph idx="25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11" name="Marcador de contenido 10"/>
          <p:cNvSpPr>
            <a:spLocks noGrp="1"/>
          </p:cNvSpPr>
          <p:nvPr>
            <p:ph idx="26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757784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12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contenido 4"/>
          <p:cNvSpPr>
            <a:spLocks noGrp="1"/>
          </p:cNvSpPr>
          <p:nvPr>
            <p:ph idx="20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contenido 5"/>
          <p:cNvSpPr>
            <a:spLocks noGrp="1"/>
          </p:cNvSpPr>
          <p:nvPr>
            <p:ph idx="2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contenido 6"/>
          <p:cNvSpPr>
            <a:spLocks noGrp="1"/>
          </p:cNvSpPr>
          <p:nvPr>
            <p:ph idx="22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8" name="Marcador de contenido 7"/>
          <p:cNvSpPr>
            <a:spLocks noGrp="1"/>
          </p:cNvSpPr>
          <p:nvPr>
            <p:ph idx="23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contenido 8"/>
          <p:cNvSpPr>
            <a:spLocks noGrp="1"/>
          </p:cNvSpPr>
          <p:nvPr>
            <p:ph idx="24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10" name="Marcador de contenido 9"/>
          <p:cNvSpPr>
            <a:spLocks noGrp="1"/>
          </p:cNvSpPr>
          <p:nvPr>
            <p:ph idx="25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11" name="Marcador de contenido 10"/>
          <p:cNvSpPr>
            <a:spLocks noGrp="1"/>
          </p:cNvSpPr>
          <p:nvPr>
            <p:ph idx="26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341824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13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contenido 4"/>
          <p:cNvSpPr>
            <a:spLocks noGrp="1"/>
          </p:cNvSpPr>
          <p:nvPr>
            <p:ph idx="20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contenido 5"/>
          <p:cNvSpPr>
            <a:spLocks noGrp="1"/>
          </p:cNvSpPr>
          <p:nvPr>
            <p:ph idx="2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contenido 6"/>
          <p:cNvSpPr>
            <a:spLocks noGrp="1"/>
          </p:cNvSpPr>
          <p:nvPr>
            <p:ph idx="22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8" name="Marcador de contenido 7"/>
          <p:cNvSpPr>
            <a:spLocks noGrp="1"/>
          </p:cNvSpPr>
          <p:nvPr>
            <p:ph idx="23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contenido 8"/>
          <p:cNvSpPr>
            <a:spLocks noGrp="1"/>
          </p:cNvSpPr>
          <p:nvPr>
            <p:ph idx="24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10" name="Marcador de contenido 9"/>
          <p:cNvSpPr>
            <a:spLocks noGrp="1"/>
          </p:cNvSpPr>
          <p:nvPr>
            <p:ph idx="25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11" name="Marcador de contenido 10"/>
          <p:cNvSpPr>
            <a:spLocks noGrp="1"/>
          </p:cNvSpPr>
          <p:nvPr>
            <p:ph idx="26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714242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70241" y="0"/>
            <a:ext cx="1818174" cy="997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7130" y="344956"/>
            <a:ext cx="8474075" cy="533403"/>
          </a:xfrm>
        </p:spPr>
        <p:txBody>
          <a:bodyPr>
            <a:noAutofit/>
          </a:bodyPr>
          <a:lstStyle/>
          <a:p>
            <a:r>
              <a:rPr lang="es-PE" sz="2800" b="1" dirty="0" smtClean="0"/>
              <a:t>Reportes de Palancas Digitales</a:t>
            </a:r>
            <a:endParaRPr lang="es-PE" sz="2800" b="1" dirty="0"/>
          </a:p>
        </p:txBody>
      </p:sp>
      <p:sp>
        <p:nvSpPr>
          <p:cNvPr id="8" name="CuadroTexto 7"/>
          <p:cNvSpPr txBox="1"/>
          <p:nvPr/>
        </p:nvSpPr>
        <p:spPr>
          <a:xfrm>
            <a:off x="642892" y="1539388"/>
            <a:ext cx="1079685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Los reportes de Palancas Digitales se suelen hacer tomando como fuente el </a:t>
            </a:r>
            <a:r>
              <a:rPr lang="es-PE" dirty="0" err="1" smtClean="0"/>
              <a:t>Dashboard</a:t>
            </a:r>
            <a:endParaRPr lang="es-PE" dirty="0" smtClean="0"/>
          </a:p>
          <a:p>
            <a:pPr algn="just"/>
            <a:r>
              <a:rPr lang="es-ES" dirty="0" smtClean="0"/>
              <a:t>   </a:t>
            </a:r>
            <a:endParaRPr lang="es-PE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Sin embargo, al contrastar estos reportes con los datos de </a:t>
            </a:r>
            <a:r>
              <a:rPr lang="es-PE" dirty="0" err="1" smtClean="0"/>
              <a:t>Datamart</a:t>
            </a:r>
            <a:r>
              <a:rPr lang="es-PE" dirty="0" smtClean="0"/>
              <a:t> (TO y Marcaciones </a:t>
            </a:r>
            <a:r>
              <a:rPr lang="es-PE" dirty="0" err="1" smtClean="0"/>
              <a:t>SomosBelcorp</a:t>
            </a:r>
            <a:r>
              <a:rPr lang="es-PE" dirty="0" smtClean="0"/>
              <a:t>), no son iguales las cifras. Queda la duda de cual tiene la información “veraz”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Esto está afectando la validez de los reportes y otros documentos como instrumentos para toma de decisión.</a:t>
            </a:r>
            <a:endParaRPr lang="es-P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cxnSp>
        <p:nvCxnSpPr>
          <p:cNvPr id="9" name="Conector recto 8"/>
          <p:cNvCxnSpPr/>
          <p:nvPr/>
        </p:nvCxnSpPr>
        <p:spPr>
          <a:xfrm flipV="1">
            <a:off x="717912" y="910412"/>
            <a:ext cx="9968263" cy="1"/>
          </a:xfrm>
          <a:prstGeom prst="line">
            <a:avLst/>
          </a:prstGeom>
          <a:ln w="3175">
            <a:solidFill>
              <a:schemeClr val="tx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ángulo 1"/>
          <p:cNvSpPr/>
          <p:nvPr/>
        </p:nvSpPr>
        <p:spPr>
          <a:xfrm>
            <a:off x="414647" y="5002116"/>
            <a:ext cx="1088261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000" b="1" dirty="0" smtClean="0"/>
              <a:t>Identificar y reportar los principales motivos de descuadre de la venta por palancas digitales según </a:t>
            </a:r>
            <a:r>
              <a:rPr lang="es-ES" sz="2000" b="1" dirty="0" err="1" smtClean="0"/>
              <a:t>Dashboard</a:t>
            </a:r>
            <a:r>
              <a:rPr lang="es-ES" sz="2000" b="1" dirty="0" smtClean="0"/>
              <a:t>, </a:t>
            </a:r>
            <a:r>
              <a:rPr lang="es-ES" sz="2000" b="1" dirty="0" err="1" smtClean="0"/>
              <a:t>Datamart</a:t>
            </a:r>
            <a:r>
              <a:rPr lang="es-ES" sz="2000" b="1" dirty="0" smtClean="0"/>
              <a:t> (TO) y </a:t>
            </a:r>
            <a:r>
              <a:rPr lang="es-ES" sz="2000" b="1" dirty="0" err="1" smtClean="0"/>
              <a:t>Datamart</a:t>
            </a:r>
            <a:r>
              <a:rPr lang="es-ES" sz="2000" b="1" dirty="0" smtClean="0"/>
              <a:t> (Marcaciones </a:t>
            </a:r>
            <a:r>
              <a:rPr lang="es-ES" sz="2000" b="1" dirty="0" err="1" smtClean="0"/>
              <a:t>SomosBelcorp</a:t>
            </a:r>
            <a:r>
              <a:rPr lang="es-ES" sz="2000" b="1" dirty="0" smtClean="0"/>
              <a:t>)</a:t>
            </a:r>
            <a:endParaRPr lang="es-PE" sz="2000" b="1" dirty="0"/>
          </a:p>
        </p:txBody>
      </p:sp>
      <p:sp>
        <p:nvSpPr>
          <p:cNvPr id="14" name="1 Título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717912" y="4214509"/>
            <a:ext cx="8474075" cy="533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fontAlgn="base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>
                    <a:lumMod val="75000"/>
                  </a:schemeClr>
                </a:solidFill>
                <a:latin typeface="Arial"/>
                <a:ea typeface="MS PGothic" panose="020B0600070205080204" pitchFamily="34" charset="-128"/>
                <a:cs typeface="Arial"/>
              </a:defRPr>
            </a:lvl1pPr>
            <a:lvl2pPr algn="l" defTabSz="457200" rtl="0" eaLnBrk="1" fontAlgn="base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algn="l" defTabSz="457200" rtl="0" eaLnBrk="1" fontAlgn="base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algn="l" defTabSz="457200" rtl="0" eaLnBrk="1" fontAlgn="base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algn="l" defTabSz="457200" rtl="0" eaLnBrk="1" fontAlgn="base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457200" algn="l" defTabSz="457200" rtl="0" eaLnBrk="1" fontAlgn="base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914400" algn="l" defTabSz="457200" rtl="0" eaLnBrk="1" fontAlgn="base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371600" algn="l" defTabSz="457200" rtl="0" eaLnBrk="1" fontAlgn="base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1828800" algn="l" defTabSz="457200" rtl="0" eaLnBrk="1" fontAlgn="base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s-PE" sz="2800" b="1" dirty="0" smtClean="0"/>
              <a:t>Objetivo:</a:t>
            </a:r>
            <a:endParaRPr lang="es-PE" sz="2800" b="1" dirty="0"/>
          </a:p>
        </p:txBody>
      </p:sp>
    </p:spTree>
    <p:extLst>
      <p:ext uri="{BB962C8B-B14F-4D97-AF65-F5344CB8AC3E}">
        <p14:creationId xmlns:p14="http://schemas.microsoft.com/office/powerpoint/2010/main" val="805772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1180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70241" y="0"/>
            <a:ext cx="1818174" cy="997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7130" y="344956"/>
            <a:ext cx="8474075" cy="533403"/>
          </a:xfrm>
        </p:spPr>
        <p:txBody>
          <a:bodyPr>
            <a:noAutofit/>
          </a:bodyPr>
          <a:lstStyle/>
          <a:p>
            <a:r>
              <a:rPr lang="es-PE" sz="2800" b="1" dirty="0" smtClean="0"/>
              <a:t>Ejemplos</a:t>
            </a:r>
            <a:endParaRPr lang="es-PE" sz="2800" b="1" dirty="0"/>
          </a:p>
        </p:txBody>
      </p:sp>
      <p:cxnSp>
        <p:nvCxnSpPr>
          <p:cNvPr id="9" name="Conector recto 8"/>
          <p:cNvCxnSpPr/>
          <p:nvPr/>
        </p:nvCxnSpPr>
        <p:spPr>
          <a:xfrm flipV="1">
            <a:off x="717912" y="910412"/>
            <a:ext cx="9968263" cy="1"/>
          </a:xfrm>
          <a:prstGeom prst="line">
            <a:avLst/>
          </a:prstGeom>
          <a:ln w="3175">
            <a:solidFill>
              <a:schemeClr val="tx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ángulo redondeado 6"/>
          <p:cNvSpPr/>
          <p:nvPr/>
        </p:nvSpPr>
        <p:spPr>
          <a:xfrm>
            <a:off x="537634" y="1143512"/>
            <a:ext cx="2458205" cy="707637"/>
          </a:xfrm>
          <a:prstGeom prst="roundRect">
            <a:avLst/>
          </a:prstGeom>
          <a:ln w="19050">
            <a:solidFill>
              <a:srgbClr val="7030A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60418" name="Picture 2" descr="Resultado de imagen para colombia flag circl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7" y="1143512"/>
            <a:ext cx="707637" cy="707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adroTexto 2"/>
          <p:cNvSpPr txBox="1"/>
          <p:nvPr/>
        </p:nvSpPr>
        <p:spPr>
          <a:xfrm>
            <a:off x="1247284" y="1266499"/>
            <a:ext cx="17780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400" b="1" dirty="0" smtClean="0">
                <a:solidFill>
                  <a:srgbClr val="7030A0"/>
                </a:solidFill>
              </a:rPr>
              <a:t>C18 – 2017</a:t>
            </a:r>
            <a:endParaRPr lang="es-PE" sz="2400" b="1" dirty="0">
              <a:solidFill>
                <a:srgbClr val="7030A0"/>
              </a:solidFill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1334159" y="2126803"/>
            <a:ext cx="169309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400" dirty="0" err="1" smtClean="0">
                <a:solidFill>
                  <a:srgbClr val="7030A0"/>
                </a:solidFill>
              </a:rPr>
              <a:t>Dashboard</a:t>
            </a:r>
            <a:endParaRPr lang="es-PE" sz="2400" dirty="0">
              <a:solidFill>
                <a:srgbClr val="7030A0"/>
              </a:solidFill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4632647" y="2307346"/>
            <a:ext cx="21387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400" dirty="0" err="1" smtClean="0">
                <a:solidFill>
                  <a:srgbClr val="7030A0"/>
                </a:solidFill>
              </a:rPr>
              <a:t>Datamart</a:t>
            </a:r>
            <a:r>
              <a:rPr lang="es-PE" sz="2400" dirty="0" smtClean="0">
                <a:solidFill>
                  <a:srgbClr val="7030A0"/>
                </a:solidFill>
              </a:rPr>
              <a:t> - TO</a:t>
            </a:r>
            <a:endParaRPr lang="es-PE" sz="2400" dirty="0">
              <a:solidFill>
                <a:srgbClr val="7030A0"/>
              </a:solidFill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7956327" y="1255721"/>
            <a:ext cx="21339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400" dirty="0" err="1" smtClean="0">
                <a:solidFill>
                  <a:srgbClr val="7030A0"/>
                </a:solidFill>
              </a:rPr>
              <a:t>Datamart</a:t>
            </a:r>
            <a:r>
              <a:rPr lang="es-PE" sz="2400" dirty="0" smtClean="0">
                <a:solidFill>
                  <a:srgbClr val="7030A0"/>
                </a:solidFill>
              </a:rPr>
              <a:t> - SB</a:t>
            </a:r>
            <a:endParaRPr lang="es-PE" sz="2400" dirty="0">
              <a:solidFill>
                <a:srgbClr val="7030A0"/>
              </a:solidFill>
            </a:endParaRPr>
          </a:p>
        </p:txBody>
      </p:sp>
      <p:graphicFrame>
        <p:nvGraphicFramePr>
          <p:cNvPr id="20" name="Tabl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773066"/>
              </p:ext>
            </p:extLst>
          </p:nvPr>
        </p:nvGraphicFramePr>
        <p:xfrm>
          <a:off x="412445" y="2735709"/>
          <a:ext cx="3332355" cy="26516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53653">
                  <a:extLst>
                    <a:ext uri="{9D8B030D-6E8A-4147-A177-3AD203B41FA5}">
                      <a16:colId xmlns:a16="http://schemas.microsoft.com/office/drawing/2014/main" val="546604392"/>
                    </a:ext>
                  </a:extLst>
                </a:gridCol>
                <a:gridCol w="762274">
                  <a:extLst>
                    <a:ext uri="{9D8B030D-6E8A-4147-A177-3AD203B41FA5}">
                      <a16:colId xmlns:a16="http://schemas.microsoft.com/office/drawing/2014/main" val="3782670376"/>
                    </a:ext>
                  </a:extLst>
                </a:gridCol>
                <a:gridCol w="1316428">
                  <a:extLst>
                    <a:ext uri="{9D8B030D-6E8A-4147-A177-3AD203B41FA5}">
                      <a16:colId xmlns:a16="http://schemas.microsoft.com/office/drawing/2014/main" val="3101065460"/>
                    </a:ext>
                  </a:extLst>
                </a:gridCol>
              </a:tblGrid>
              <a:tr h="616124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>
                          <a:effectLst/>
                        </a:rPr>
                        <a:t> </a:t>
                      </a:r>
                      <a:r>
                        <a:rPr lang="es-PE" sz="1100" u="none" strike="noStrike" dirty="0" err="1">
                          <a:effectLst/>
                        </a:rPr>
                        <a:t>DesPalanca</a:t>
                      </a:r>
                      <a:r>
                        <a:rPr lang="es-PE" sz="1100" u="none" strike="noStrike" dirty="0">
                          <a:effectLst/>
                        </a:rPr>
                        <a:t> 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err="1" smtClean="0">
                          <a:effectLst/>
                        </a:rPr>
                        <a:t>Nro</a:t>
                      </a:r>
                      <a:r>
                        <a:rPr lang="es-PE" sz="1100" u="none" strike="noStrike" dirty="0" smtClean="0">
                          <a:effectLst/>
                        </a:rPr>
                        <a:t> Consultoras 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err="1">
                          <a:effectLst/>
                        </a:rPr>
                        <a:t>RealVtaMNNeto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9600505"/>
                  </a:ext>
                </a:extLst>
              </a:tr>
              <a:tr h="508893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>
                          <a:effectLst/>
                        </a:rPr>
                        <a:t> Oferta Final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1,971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54,230,693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77066963"/>
                  </a:ext>
                </a:extLst>
              </a:tr>
              <a:tr h="508893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>
                          <a:effectLst/>
                        </a:rPr>
                        <a:t> Ofertas del Día 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3,554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164,519,877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59263065"/>
                  </a:ext>
                </a:extLst>
              </a:tr>
              <a:tr h="508893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>
                          <a:effectLst/>
                        </a:rPr>
                        <a:t> Ofertas Para tí 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10,390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346,547,245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1692912"/>
                  </a:ext>
                </a:extLst>
              </a:tr>
              <a:tr h="508893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>
                          <a:effectLst/>
                        </a:rPr>
                        <a:t> Showroom 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9,563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495,876,944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93881717"/>
                  </a:ext>
                </a:extLst>
              </a:tr>
            </a:tbl>
          </a:graphicData>
        </a:graphic>
      </p:graphicFrame>
      <p:graphicFrame>
        <p:nvGraphicFramePr>
          <p:cNvPr id="21" name="Tab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3456614"/>
              </p:ext>
            </p:extLst>
          </p:nvPr>
        </p:nvGraphicFramePr>
        <p:xfrm>
          <a:off x="4140200" y="2769009"/>
          <a:ext cx="3942360" cy="26411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0054">
                  <a:extLst>
                    <a:ext uri="{9D8B030D-6E8A-4147-A177-3AD203B41FA5}">
                      <a16:colId xmlns:a16="http://schemas.microsoft.com/office/drawing/2014/main" val="3823050363"/>
                    </a:ext>
                  </a:extLst>
                </a:gridCol>
                <a:gridCol w="1011153">
                  <a:extLst>
                    <a:ext uri="{9D8B030D-6E8A-4147-A177-3AD203B41FA5}">
                      <a16:colId xmlns:a16="http://schemas.microsoft.com/office/drawing/2014/main" val="1680466846"/>
                    </a:ext>
                  </a:extLst>
                </a:gridCol>
                <a:gridCol w="1011153">
                  <a:extLst>
                    <a:ext uri="{9D8B030D-6E8A-4147-A177-3AD203B41FA5}">
                      <a16:colId xmlns:a16="http://schemas.microsoft.com/office/drawing/2014/main" val="4080176238"/>
                    </a:ext>
                  </a:extLst>
                </a:gridCol>
              </a:tblGrid>
              <a:tr h="292167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>
                          <a:effectLst/>
                        </a:rPr>
                        <a:t>DesCatalogo</a:t>
                      </a:r>
                      <a:endParaRPr lang="es-PE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err="1" smtClean="0">
                          <a:effectLst/>
                        </a:rPr>
                        <a:t>NroConsultoras</a:t>
                      </a:r>
                      <a:r>
                        <a:rPr lang="es-PE" sz="1100" u="none" strike="noStrike" dirty="0" smtClean="0">
                          <a:effectLst/>
                        </a:rPr>
                        <a:t> 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>
                          <a:effectLst/>
                        </a:rPr>
                        <a:t>VentaMN</a:t>
                      </a:r>
                      <a:endParaRPr lang="es-PE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76715712"/>
                  </a:ext>
                </a:extLst>
              </a:tr>
              <a:tr h="292167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>
                          <a:effectLst/>
                        </a:rPr>
                        <a:t>44 - WEB SHOWROOM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9,565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496,275,932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88483869"/>
                  </a:ext>
                </a:extLst>
              </a:tr>
              <a:tr h="514214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>
                          <a:effectLst/>
                        </a:rPr>
                        <a:t>FOLLETO/FLYER A NIVEL NACIONAL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2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43,571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7860847"/>
                  </a:ext>
                </a:extLst>
              </a:tr>
              <a:tr h="514214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45 - WEB OFERTAS PARA TI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11,680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386,374,253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96676250"/>
                  </a:ext>
                </a:extLst>
              </a:tr>
              <a:tr h="514214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>
                          <a:effectLst/>
                        </a:rPr>
                        <a:t>46 - WEB OFERTAS DEL DÍA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3,554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164,519,877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15480718"/>
                  </a:ext>
                </a:extLst>
              </a:tr>
              <a:tr h="514214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>
                          <a:effectLst/>
                        </a:rPr>
                        <a:t>PORTAL WEB FFVV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404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14,652,173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50358027"/>
                  </a:ext>
                </a:extLst>
              </a:tr>
            </a:tbl>
          </a:graphicData>
        </a:graphic>
      </p:graphicFrame>
      <p:graphicFrame>
        <p:nvGraphicFramePr>
          <p:cNvPr id="22" name="Tabla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6075546"/>
              </p:ext>
            </p:extLst>
          </p:nvPr>
        </p:nvGraphicFramePr>
        <p:xfrm>
          <a:off x="8547132" y="2769008"/>
          <a:ext cx="3644867" cy="26411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7622">
                  <a:extLst>
                    <a:ext uri="{9D8B030D-6E8A-4147-A177-3AD203B41FA5}">
                      <a16:colId xmlns:a16="http://schemas.microsoft.com/office/drawing/2014/main" val="415671190"/>
                    </a:ext>
                  </a:extLst>
                </a:gridCol>
                <a:gridCol w="1717425">
                  <a:extLst>
                    <a:ext uri="{9D8B030D-6E8A-4147-A177-3AD203B41FA5}">
                      <a16:colId xmlns:a16="http://schemas.microsoft.com/office/drawing/2014/main" val="512025715"/>
                    </a:ext>
                  </a:extLst>
                </a:gridCol>
                <a:gridCol w="1029820">
                  <a:extLst>
                    <a:ext uri="{9D8B030D-6E8A-4147-A177-3AD203B41FA5}">
                      <a16:colId xmlns:a16="http://schemas.microsoft.com/office/drawing/2014/main" val="3804658658"/>
                    </a:ext>
                  </a:extLst>
                </a:gridCol>
              </a:tblGrid>
              <a:tr h="518554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b="1" u="none" strike="noStrike" dirty="0" err="1">
                          <a:effectLst/>
                        </a:rPr>
                        <a:t>DesSeccion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b="1" u="none" strike="noStrike">
                          <a:effectLst/>
                        </a:rPr>
                        <a:t> RealVtaMNNeto </a:t>
                      </a:r>
                      <a:endParaRPr lang="es-PE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b="1" u="none" strike="noStrike" dirty="0" smtClean="0">
                          <a:effectLst/>
                        </a:rPr>
                        <a:t>Consultoras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78406610"/>
                  </a:ext>
                </a:extLst>
              </a:tr>
              <a:tr h="518554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err="1">
                          <a:effectLst/>
                        </a:rPr>
                        <a:t>ShowRoom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51,911,625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1,396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5216473"/>
                  </a:ext>
                </a:extLst>
              </a:tr>
              <a:tr h="542764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>
                          <a:effectLst/>
                        </a:rPr>
                        <a:t> Ofertas para ti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298,030,200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8,997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18403204"/>
                  </a:ext>
                </a:extLst>
              </a:tr>
              <a:tr h="518554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>
                          <a:effectLst/>
                        </a:rPr>
                        <a:t> Oferta Final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56,159,348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2,006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0582107"/>
                  </a:ext>
                </a:extLst>
              </a:tr>
              <a:tr h="542764"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>
                          <a:effectLst/>
                        </a:rPr>
                        <a:t> Oferta del Día 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163,098,512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100" u="none" strike="noStrike" dirty="0" smtClean="0">
                          <a:effectLst/>
                        </a:rPr>
                        <a:t>3,527 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459177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4422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70241" y="0"/>
            <a:ext cx="1818174" cy="997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7130" y="344956"/>
            <a:ext cx="8474075" cy="533403"/>
          </a:xfrm>
        </p:spPr>
        <p:txBody>
          <a:bodyPr>
            <a:noAutofit/>
          </a:bodyPr>
          <a:lstStyle/>
          <a:p>
            <a:r>
              <a:rPr lang="es-PE" sz="2800" b="1" dirty="0" smtClean="0"/>
              <a:t>Ejemplos</a:t>
            </a:r>
            <a:endParaRPr lang="es-PE" sz="2800" b="1" dirty="0"/>
          </a:p>
        </p:txBody>
      </p:sp>
      <p:cxnSp>
        <p:nvCxnSpPr>
          <p:cNvPr id="9" name="Conector recto 8"/>
          <p:cNvCxnSpPr/>
          <p:nvPr/>
        </p:nvCxnSpPr>
        <p:spPr>
          <a:xfrm flipV="1">
            <a:off x="717912" y="910412"/>
            <a:ext cx="9968263" cy="1"/>
          </a:xfrm>
          <a:prstGeom prst="line">
            <a:avLst/>
          </a:prstGeom>
          <a:ln w="3175">
            <a:solidFill>
              <a:schemeClr val="tx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ángulo redondeado 6"/>
          <p:cNvSpPr/>
          <p:nvPr/>
        </p:nvSpPr>
        <p:spPr>
          <a:xfrm>
            <a:off x="537634" y="1143512"/>
            <a:ext cx="2458205" cy="707637"/>
          </a:xfrm>
          <a:prstGeom prst="roundRect">
            <a:avLst/>
          </a:prstGeom>
          <a:ln w="19050">
            <a:solidFill>
              <a:srgbClr val="7030A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CuadroTexto 2"/>
          <p:cNvSpPr txBox="1"/>
          <p:nvPr/>
        </p:nvSpPr>
        <p:spPr>
          <a:xfrm>
            <a:off x="1247284" y="1266499"/>
            <a:ext cx="17780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400" b="1" dirty="0" smtClean="0">
                <a:solidFill>
                  <a:srgbClr val="7030A0"/>
                </a:solidFill>
              </a:rPr>
              <a:t>C18 – 2017</a:t>
            </a:r>
            <a:endParaRPr lang="es-PE" sz="2400" b="1" dirty="0">
              <a:solidFill>
                <a:srgbClr val="7030A0"/>
              </a:solidFill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1334159" y="2126803"/>
            <a:ext cx="169309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400" dirty="0" err="1" smtClean="0">
                <a:solidFill>
                  <a:srgbClr val="7030A0"/>
                </a:solidFill>
              </a:rPr>
              <a:t>Dashboard</a:t>
            </a:r>
            <a:endParaRPr lang="es-PE" sz="2400" dirty="0">
              <a:solidFill>
                <a:srgbClr val="7030A0"/>
              </a:solidFill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4632647" y="2307346"/>
            <a:ext cx="21387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400" dirty="0" err="1" smtClean="0">
                <a:solidFill>
                  <a:srgbClr val="7030A0"/>
                </a:solidFill>
              </a:rPr>
              <a:t>Datamart</a:t>
            </a:r>
            <a:r>
              <a:rPr lang="es-PE" sz="2400" dirty="0" smtClean="0">
                <a:solidFill>
                  <a:srgbClr val="7030A0"/>
                </a:solidFill>
              </a:rPr>
              <a:t> - TO</a:t>
            </a:r>
            <a:endParaRPr lang="es-PE" sz="2400" dirty="0">
              <a:solidFill>
                <a:srgbClr val="7030A0"/>
              </a:solidFill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7956327" y="1255721"/>
            <a:ext cx="21339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400" dirty="0" err="1" smtClean="0">
                <a:solidFill>
                  <a:srgbClr val="7030A0"/>
                </a:solidFill>
              </a:rPr>
              <a:t>Datamart</a:t>
            </a:r>
            <a:r>
              <a:rPr lang="es-PE" sz="2400" dirty="0" smtClean="0">
                <a:solidFill>
                  <a:srgbClr val="7030A0"/>
                </a:solidFill>
              </a:rPr>
              <a:t> - SB</a:t>
            </a:r>
            <a:endParaRPr lang="es-PE" sz="2400" dirty="0">
              <a:solidFill>
                <a:srgbClr val="7030A0"/>
              </a:solidFill>
            </a:endParaRPr>
          </a:p>
        </p:txBody>
      </p:sp>
      <p:pic>
        <p:nvPicPr>
          <p:cNvPr id="61442" name="Picture 2" descr="Resultado de imagen para el salvador flag circl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130" y="1187765"/>
            <a:ext cx="633060" cy="633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7569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70241" y="0"/>
            <a:ext cx="1818174" cy="997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7130" y="344956"/>
            <a:ext cx="8474075" cy="533403"/>
          </a:xfrm>
        </p:spPr>
        <p:txBody>
          <a:bodyPr>
            <a:noAutofit/>
          </a:bodyPr>
          <a:lstStyle/>
          <a:p>
            <a:r>
              <a:rPr lang="es-PE" sz="2800" b="1" dirty="0" smtClean="0"/>
              <a:t>Metodología</a:t>
            </a:r>
            <a:endParaRPr lang="es-PE" sz="2800" b="1" dirty="0"/>
          </a:p>
        </p:txBody>
      </p:sp>
      <p:cxnSp>
        <p:nvCxnSpPr>
          <p:cNvPr id="14" name="Conector recto 13"/>
          <p:cNvCxnSpPr/>
          <p:nvPr/>
        </p:nvCxnSpPr>
        <p:spPr>
          <a:xfrm flipV="1">
            <a:off x="717912" y="910412"/>
            <a:ext cx="9968263" cy="1"/>
          </a:xfrm>
          <a:prstGeom prst="line">
            <a:avLst/>
          </a:prstGeom>
          <a:ln w="3175">
            <a:solidFill>
              <a:schemeClr val="tx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169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70241" y="0"/>
            <a:ext cx="1818174" cy="997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7130" y="344956"/>
            <a:ext cx="8474075" cy="533403"/>
          </a:xfrm>
        </p:spPr>
        <p:txBody>
          <a:bodyPr>
            <a:noAutofit/>
          </a:bodyPr>
          <a:lstStyle/>
          <a:p>
            <a:r>
              <a:rPr lang="es-PE" sz="2800" b="1" dirty="0" smtClean="0"/>
              <a:t>Principales Hallazgos</a:t>
            </a:r>
            <a:endParaRPr lang="es-PE" sz="2800" b="1" dirty="0"/>
          </a:p>
        </p:txBody>
      </p:sp>
      <p:cxnSp>
        <p:nvCxnSpPr>
          <p:cNvPr id="14" name="Conector recto 13"/>
          <p:cNvCxnSpPr/>
          <p:nvPr/>
        </p:nvCxnSpPr>
        <p:spPr>
          <a:xfrm flipV="1">
            <a:off x="717912" y="910412"/>
            <a:ext cx="9968263" cy="1"/>
          </a:xfrm>
          <a:prstGeom prst="line">
            <a:avLst/>
          </a:prstGeom>
          <a:ln w="3175">
            <a:solidFill>
              <a:schemeClr val="tx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CuadroTexto 1"/>
          <p:cNvSpPr txBox="1"/>
          <p:nvPr/>
        </p:nvSpPr>
        <p:spPr>
          <a:xfrm>
            <a:off x="567130" y="1575891"/>
            <a:ext cx="513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s-PE" dirty="0" smtClean="0"/>
          </a:p>
        </p:txBody>
      </p:sp>
      <p:sp>
        <p:nvSpPr>
          <p:cNvPr id="7" name="CuadroTexto 6"/>
          <p:cNvSpPr txBox="1"/>
          <p:nvPr/>
        </p:nvSpPr>
        <p:spPr>
          <a:xfrm>
            <a:off x="419100" y="997665"/>
            <a:ext cx="1123949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s-PE" sz="2400" dirty="0" err="1" smtClean="0"/>
              <a:t>Codigos</a:t>
            </a:r>
            <a:r>
              <a:rPr lang="es-PE" sz="2400" dirty="0" smtClean="0"/>
              <a:t> de venta digitados en </a:t>
            </a:r>
            <a:r>
              <a:rPr lang="es-PE" sz="2400" dirty="0" err="1" smtClean="0"/>
              <a:t>SomosBelcorp</a:t>
            </a:r>
            <a:r>
              <a:rPr lang="es-PE" sz="2400" dirty="0" smtClean="0"/>
              <a:t> sin que hayan sido asignados a las consultoras.</a:t>
            </a:r>
          </a:p>
          <a:p>
            <a:pPr marL="800100" lvl="1" indent="-342900">
              <a:buAutoNum type="arabicPeriod"/>
            </a:pPr>
            <a:r>
              <a:rPr lang="es-PE" sz="2400" dirty="0" smtClean="0"/>
              <a:t>Lo revisamos buscando las recomendaciones </a:t>
            </a:r>
            <a:r>
              <a:rPr lang="es-PE" sz="2400" dirty="0" err="1" smtClean="0"/>
              <a:t>hechan</a:t>
            </a:r>
            <a:r>
              <a:rPr lang="es-PE" sz="2400" dirty="0" smtClean="0"/>
              <a:t> por el ARP y las </a:t>
            </a:r>
            <a:r>
              <a:rPr lang="es-PE" sz="2400" dirty="0" err="1" smtClean="0"/>
              <a:t>tuplas</a:t>
            </a:r>
            <a:r>
              <a:rPr lang="es-PE" sz="2400" dirty="0" smtClean="0"/>
              <a:t> (consultora, </a:t>
            </a:r>
            <a:r>
              <a:rPr lang="es-PE" sz="2400" dirty="0" err="1" smtClean="0"/>
              <a:t>codventa</a:t>
            </a:r>
            <a:r>
              <a:rPr lang="es-PE" sz="2400" dirty="0" smtClean="0"/>
              <a:t>) no existían para algunas consultoras que terminaron ingresando ese </a:t>
            </a:r>
            <a:r>
              <a:rPr lang="es-PE" sz="2400" dirty="0" err="1" smtClean="0"/>
              <a:t>CodVenta</a:t>
            </a:r>
            <a:r>
              <a:rPr lang="es-PE" sz="2400" dirty="0" smtClean="0"/>
              <a:t>.</a:t>
            </a:r>
          </a:p>
          <a:p>
            <a:pPr marL="800100" lvl="1" indent="-342900">
              <a:buAutoNum type="arabicPeriod"/>
            </a:pPr>
            <a:r>
              <a:rPr lang="es-PE" sz="2400" dirty="0" smtClean="0"/>
              <a:t>Las cuenta el </a:t>
            </a:r>
            <a:r>
              <a:rPr lang="es-PE" sz="2400" dirty="0" err="1" smtClean="0"/>
              <a:t>TipoOferta</a:t>
            </a:r>
            <a:r>
              <a:rPr lang="es-PE" sz="2400" dirty="0" smtClean="0"/>
              <a:t> pero no SB</a:t>
            </a:r>
          </a:p>
          <a:p>
            <a:pPr marL="800100" lvl="1" indent="-342900">
              <a:buAutoNum type="arabicPeriod"/>
            </a:pPr>
            <a:r>
              <a:rPr lang="es-PE" sz="2400" dirty="0" smtClean="0"/>
              <a:t>Afecta a palanca: ODD y OPT en varios países (3+)</a:t>
            </a:r>
          </a:p>
          <a:p>
            <a:pPr marL="342900" indent="-342900">
              <a:buAutoNum type="arabicPeriod"/>
            </a:pPr>
            <a:r>
              <a:rPr lang="es-PE" sz="2400" dirty="0" smtClean="0"/>
              <a:t>El procedimiento que genera la tabla del </a:t>
            </a:r>
            <a:r>
              <a:rPr lang="es-PE" sz="2400" dirty="0" err="1" smtClean="0"/>
              <a:t>dashboard</a:t>
            </a:r>
            <a:r>
              <a:rPr lang="es-PE" sz="2400" dirty="0" smtClean="0"/>
              <a:t> no considera el canal de ingreso AWM. Por eso no figuran en </a:t>
            </a:r>
            <a:r>
              <a:rPr lang="es-PE" sz="2400" dirty="0" err="1" smtClean="0"/>
              <a:t>Dashboard</a:t>
            </a:r>
            <a:r>
              <a:rPr lang="es-PE" sz="2400" dirty="0" smtClean="0"/>
              <a:t> pero si en el registro comercial</a:t>
            </a:r>
          </a:p>
          <a:p>
            <a:pPr marL="800100" lvl="1" indent="-342900">
              <a:buAutoNum type="arabicPeriod"/>
            </a:pPr>
            <a:r>
              <a:rPr lang="es-PE" sz="2400" dirty="0" smtClean="0"/>
              <a:t>Revisamos el </a:t>
            </a:r>
            <a:r>
              <a:rPr lang="es-PE" sz="2400" dirty="0" err="1" smtClean="0"/>
              <a:t>stored</a:t>
            </a:r>
            <a:r>
              <a:rPr lang="es-PE" sz="2400" dirty="0" smtClean="0"/>
              <a:t> </a:t>
            </a:r>
            <a:r>
              <a:rPr lang="es-PE" sz="2400" dirty="0" err="1" smtClean="0"/>
              <a:t>procedure</a:t>
            </a:r>
            <a:r>
              <a:rPr lang="es-PE" sz="2400" dirty="0" smtClean="0"/>
              <a:t> que creaba la tabla que alimenta al </a:t>
            </a:r>
            <a:r>
              <a:rPr lang="es-PE" sz="2400" dirty="0" err="1" smtClean="0"/>
              <a:t>dashboard</a:t>
            </a:r>
            <a:r>
              <a:rPr lang="es-PE" sz="2400" dirty="0" smtClean="0"/>
              <a:t> (</a:t>
            </a:r>
            <a:r>
              <a:rPr lang="es-PE" sz="2400" dirty="0" err="1" smtClean="0"/>
              <a:t>FResultadoPalanca</a:t>
            </a:r>
            <a:r>
              <a:rPr lang="es-PE" sz="2400" dirty="0" smtClean="0"/>
              <a:t>) y no estaba </a:t>
            </a:r>
            <a:r>
              <a:rPr lang="es-PE" sz="2400" dirty="0" err="1" smtClean="0"/>
              <a:t>reogiendo</a:t>
            </a:r>
            <a:r>
              <a:rPr lang="es-PE" sz="2400" dirty="0" smtClean="0"/>
              <a:t> este </a:t>
            </a:r>
            <a:r>
              <a:rPr lang="es-PE" sz="2400" dirty="0" err="1" smtClean="0"/>
              <a:t>tag</a:t>
            </a:r>
            <a:r>
              <a:rPr lang="es-PE" sz="2400" dirty="0" smtClean="0"/>
              <a:t> (se creó después)</a:t>
            </a:r>
          </a:p>
          <a:p>
            <a:pPr marL="800100" lvl="1" indent="-342900">
              <a:buAutoNum type="arabicPeriod"/>
            </a:pPr>
            <a:r>
              <a:rPr lang="es-PE" sz="2400" dirty="0" smtClean="0"/>
              <a:t>Las cuenta TO pero no </a:t>
            </a:r>
            <a:r>
              <a:rPr lang="es-PE" sz="2400" dirty="0" err="1" smtClean="0"/>
              <a:t>Dashboard</a:t>
            </a:r>
            <a:r>
              <a:rPr lang="es-PE" sz="2400" dirty="0" smtClean="0"/>
              <a:t>.</a:t>
            </a:r>
          </a:p>
          <a:p>
            <a:pPr marL="800100" lvl="1" indent="-342900">
              <a:buAutoNum type="arabicPeriod"/>
            </a:pPr>
            <a:r>
              <a:rPr lang="es-PE" sz="2400" dirty="0" smtClean="0"/>
              <a:t>Afecta palanca: </a:t>
            </a:r>
            <a:r>
              <a:rPr lang="es-PE" sz="2400" dirty="0" err="1" smtClean="0"/>
              <a:t>Showroom</a:t>
            </a:r>
            <a:endParaRPr lang="es-PE" sz="2400" dirty="0" smtClean="0"/>
          </a:p>
        </p:txBody>
      </p:sp>
    </p:spTree>
    <p:extLst>
      <p:ext uri="{BB962C8B-B14F-4D97-AF65-F5344CB8AC3E}">
        <p14:creationId xmlns:p14="http://schemas.microsoft.com/office/powerpoint/2010/main" val="3512301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Como estamos midiendo la venta digital ahora?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2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dirty="0" smtClean="0"/>
              <a:t>Medio de venta descatalogo</a:t>
            </a:r>
          </a:p>
          <a:p>
            <a:endParaRPr lang="es-PE" dirty="0"/>
          </a:p>
          <a:p>
            <a:r>
              <a:rPr lang="es-PE" dirty="0" err="1" smtClean="0"/>
              <a:t>Simil</a:t>
            </a:r>
            <a:r>
              <a:rPr lang="es-PE" dirty="0" smtClean="0"/>
              <a:t> catalogo con web (exposición)</a:t>
            </a:r>
          </a:p>
          <a:p>
            <a:endParaRPr lang="es-PE" dirty="0"/>
          </a:p>
          <a:p>
            <a:r>
              <a:rPr lang="es-PE" dirty="0" err="1" smtClean="0"/>
              <a:t>Think</a:t>
            </a:r>
            <a:r>
              <a:rPr lang="es-PE" dirty="0" smtClean="0"/>
              <a:t> </a:t>
            </a:r>
            <a:r>
              <a:rPr lang="es-PE" dirty="0" err="1" smtClean="0"/>
              <a:t>cell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1881220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70241" y="0"/>
            <a:ext cx="1818174" cy="997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7130" y="344956"/>
            <a:ext cx="8474075" cy="533403"/>
          </a:xfrm>
        </p:spPr>
        <p:txBody>
          <a:bodyPr>
            <a:noAutofit/>
          </a:bodyPr>
          <a:lstStyle/>
          <a:p>
            <a:r>
              <a:rPr lang="es-PE" sz="2800" b="1" dirty="0" smtClean="0"/>
              <a:t>Principales Hallazgos</a:t>
            </a:r>
            <a:endParaRPr lang="es-PE" sz="2800" b="1" dirty="0"/>
          </a:p>
        </p:txBody>
      </p:sp>
      <p:cxnSp>
        <p:nvCxnSpPr>
          <p:cNvPr id="14" name="Conector recto 13"/>
          <p:cNvCxnSpPr/>
          <p:nvPr/>
        </p:nvCxnSpPr>
        <p:spPr>
          <a:xfrm flipV="1">
            <a:off x="717912" y="910412"/>
            <a:ext cx="9968263" cy="1"/>
          </a:xfrm>
          <a:prstGeom prst="line">
            <a:avLst/>
          </a:prstGeom>
          <a:ln w="3175">
            <a:solidFill>
              <a:schemeClr val="tx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CuadroTexto 1"/>
          <p:cNvSpPr txBox="1"/>
          <p:nvPr/>
        </p:nvSpPr>
        <p:spPr>
          <a:xfrm>
            <a:off x="567130" y="1575891"/>
            <a:ext cx="513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s-PE" dirty="0" smtClean="0"/>
          </a:p>
        </p:txBody>
      </p:sp>
      <p:sp>
        <p:nvSpPr>
          <p:cNvPr id="7" name="CuadroTexto 6"/>
          <p:cNvSpPr txBox="1"/>
          <p:nvPr/>
        </p:nvSpPr>
        <p:spPr>
          <a:xfrm>
            <a:off x="419100" y="997665"/>
            <a:ext cx="1141094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s-PE" sz="2400" dirty="0" err="1" smtClean="0"/>
              <a:t>Showroom</a:t>
            </a:r>
            <a:r>
              <a:rPr lang="es-PE" sz="2400" dirty="0" smtClean="0"/>
              <a:t>:</a:t>
            </a:r>
          </a:p>
          <a:p>
            <a:pPr marL="800100" lvl="1" indent="-342900">
              <a:buAutoNum type="arabicPeriod"/>
            </a:pPr>
            <a:r>
              <a:rPr lang="es-PE" sz="2400" dirty="0" smtClean="0"/>
              <a:t>En la tabla de Somos </a:t>
            </a:r>
            <a:r>
              <a:rPr lang="es-PE" sz="2400" dirty="0" err="1" smtClean="0"/>
              <a:t>Belcorp</a:t>
            </a:r>
            <a:r>
              <a:rPr lang="es-PE" sz="2400" dirty="0" smtClean="0"/>
              <a:t> (</a:t>
            </a:r>
            <a:r>
              <a:rPr lang="es-PE" sz="2400" dirty="0" err="1" smtClean="0"/>
              <a:t>DOrigenPedidoWeb</a:t>
            </a:r>
            <a:r>
              <a:rPr lang="es-PE" sz="2400" dirty="0" smtClean="0"/>
              <a:t>), en donde se contabiliza la venta según la sección de la página dónde se agregó el producto (</a:t>
            </a:r>
            <a:r>
              <a:rPr lang="es-PE" sz="2400" dirty="0" err="1" smtClean="0"/>
              <a:t>DesSección</a:t>
            </a:r>
            <a:r>
              <a:rPr lang="es-PE" sz="2400" dirty="0" smtClean="0"/>
              <a:t>). El </a:t>
            </a:r>
            <a:r>
              <a:rPr lang="es-PE" sz="2400" dirty="0" err="1" smtClean="0"/>
              <a:t>showroom</a:t>
            </a:r>
            <a:r>
              <a:rPr lang="es-PE" sz="2400" dirty="0" smtClean="0"/>
              <a:t> es la única palana digital que en vez de filtrar según </a:t>
            </a:r>
            <a:r>
              <a:rPr lang="es-PE" sz="2400" dirty="0" err="1" smtClean="0"/>
              <a:t>DesSección</a:t>
            </a:r>
            <a:r>
              <a:rPr lang="es-PE" sz="2400" dirty="0" smtClean="0"/>
              <a:t>, hay que filtrarla por </a:t>
            </a:r>
            <a:r>
              <a:rPr lang="es-PE" sz="2400" dirty="0" err="1" smtClean="0"/>
              <a:t>DesZona</a:t>
            </a:r>
            <a:r>
              <a:rPr lang="es-PE" sz="2400" dirty="0" smtClean="0"/>
              <a:t>. Para </a:t>
            </a:r>
            <a:r>
              <a:rPr lang="es-PE" sz="2400" dirty="0" err="1" smtClean="0"/>
              <a:t>DesZona</a:t>
            </a:r>
            <a:r>
              <a:rPr lang="es-PE" sz="2400" dirty="0" smtClean="0"/>
              <a:t> </a:t>
            </a:r>
            <a:r>
              <a:rPr lang="es-PE" sz="2400" dirty="0" err="1" smtClean="0"/>
              <a:t>showroom</a:t>
            </a:r>
            <a:r>
              <a:rPr lang="es-PE" sz="2400" dirty="0" smtClean="0"/>
              <a:t> hay 4 </a:t>
            </a:r>
            <a:r>
              <a:rPr lang="es-PE" sz="2400" dirty="0" err="1" smtClean="0"/>
              <a:t>DesSecciónes</a:t>
            </a:r>
            <a:r>
              <a:rPr lang="es-PE" sz="2400" dirty="0" smtClean="0"/>
              <a:t> diferentes,</a:t>
            </a:r>
          </a:p>
          <a:p>
            <a:pPr marL="342900" indent="-342900">
              <a:buAutoNum type="arabicPeriod"/>
            </a:pPr>
            <a:r>
              <a:rPr lang="es-PE" sz="2400" dirty="0" err="1" smtClean="0"/>
              <a:t>Dashboard</a:t>
            </a:r>
            <a:r>
              <a:rPr lang="es-PE" sz="2400" dirty="0" smtClean="0"/>
              <a:t> no reprocesa facturas que llegaron después del cierre. (Caso de </a:t>
            </a:r>
            <a:r>
              <a:rPr lang="es-PE" sz="2400" dirty="0" err="1" smtClean="0"/>
              <a:t>CodRegiones</a:t>
            </a:r>
            <a:r>
              <a:rPr lang="es-PE" sz="2400" dirty="0" smtClean="0"/>
              <a:t> que no llego ninguna factura a tiempo) </a:t>
            </a:r>
          </a:p>
          <a:p>
            <a:pPr marL="800100" lvl="1" indent="-342900">
              <a:buAutoNum type="arabicPeriod"/>
            </a:pPr>
            <a:r>
              <a:rPr lang="es-PE" sz="2400" dirty="0" smtClean="0"/>
              <a:t>Viendo El Salvador encontramos casos que para una región no llegó la factura durante el cierre. </a:t>
            </a:r>
          </a:p>
          <a:p>
            <a:pPr marL="800100" lvl="1" indent="-342900">
              <a:buAutoNum type="arabicPeriod"/>
            </a:pPr>
            <a:r>
              <a:rPr lang="es-PE" sz="2400" dirty="0" err="1" smtClean="0"/>
              <a:t>Dashboard</a:t>
            </a:r>
            <a:r>
              <a:rPr lang="es-PE" sz="2400" dirty="0" smtClean="0"/>
              <a:t> no estaba programado para reprocesar estos casos (a diferencia de </a:t>
            </a:r>
            <a:r>
              <a:rPr lang="es-PE" sz="2400" dirty="0" err="1" smtClean="0"/>
              <a:t>Datamart</a:t>
            </a:r>
            <a:r>
              <a:rPr lang="es-PE" sz="2400" dirty="0" smtClean="0"/>
              <a:t>), pero esto ya se editó</a:t>
            </a:r>
          </a:p>
          <a:p>
            <a:pPr marL="342900" indent="-342900">
              <a:buAutoNum type="arabicPeriod"/>
            </a:pPr>
            <a:r>
              <a:rPr lang="es-PE" sz="2400" dirty="0" smtClean="0"/>
              <a:t>En algunas campañas, un </a:t>
            </a:r>
            <a:r>
              <a:rPr lang="es-PE" sz="2400" dirty="0" err="1" smtClean="0"/>
              <a:t>CodVenta</a:t>
            </a:r>
            <a:r>
              <a:rPr lang="es-PE" sz="2400" dirty="0" smtClean="0"/>
              <a:t> ha sido usado para más de un </a:t>
            </a:r>
            <a:r>
              <a:rPr lang="es-PE" sz="2400" dirty="0" err="1" smtClean="0"/>
              <a:t>PkProducto</a:t>
            </a:r>
            <a:r>
              <a:rPr lang="es-PE" sz="2400" dirty="0" smtClean="0"/>
              <a:t> o un </a:t>
            </a:r>
            <a:r>
              <a:rPr lang="es-PE" sz="2400" dirty="0" err="1" smtClean="0"/>
              <a:t>PkTipooferta</a:t>
            </a:r>
            <a:r>
              <a:rPr lang="es-PE" sz="2400" dirty="0" smtClean="0"/>
              <a:t>. Lo que </a:t>
            </a:r>
          </a:p>
        </p:txBody>
      </p:sp>
    </p:spTree>
    <p:extLst>
      <p:ext uri="{BB962C8B-B14F-4D97-AF65-F5344CB8AC3E}">
        <p14:creationId xmlns:p14="http://schemas.microsoft.com/office/powerpoint/2010/main" val="4176115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70241" y="0"/>
            <a:ext cx="1818174" cy="997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5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7130" y="344956"/>
            <a:ext cx="8474075" cy="533403"/>
          </a:xfrm>
        </p:spPr>
        <p:txBody>
          <a:bodyPr>
            <a:noAutofit/>
          </a:bodyPr>
          <a:lstStyle/>
          <a:p>
            <a:r>
              <a:rPr lang="es-PE" sz="2800" b="1" dirty="0" smtClean="0"/>
              <a:t>Conclusiones</a:t>
            </a:r>
            <a:r>
              <a:rPr lang="es-PE" sz="2800" b="1" dirty="0"/>
              <a:t/>
            </a:r>
            <a:br>
              <a:rPr lang="es-PE" sz="2800" b="1" dirty="0"/>
            </a:br>
            <a:endParaRPr lang="es-PE" sz="2800" b="1" dirty="0"/>
          </a:p>
        </p:txBody>
      </p:sp>
      <p:cxnSp>
        <p:nvCxnSpPr>
          <p:cNvPr id="9" name="Conector recto 8"/>
          <p:cNvCxnSpPr/>
          <p:nvPr/>
        </p:nvCxnSpPr>
        <p:spPr>
          <a:xfrm flipV="1">
            <a:off x="781665" y="832415"/>
            <a:ext cx="10658080" cy="45944"/>
          </a:xfrm>
          <a:prstGeom prst="line">
            <a:avLst/>
          </a:prstGeom>
          <a:ln w="3175">
            <a:solidFill>
              <a:schemeClr val="tx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575" descr="Chile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87" y="185224"/>
            <a:ext cx="621803" cy="56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4927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Apuntes </a:t>
            </a:r>
            <a:r>
              <a:rPr lang="es-PE" dirty="0" err="1" smtClean="0"/>
              <a:t>reu</a:t>
            </a:r>
            <a:r>
              <a:rPr lang="es-PE" dirty="0" smtClean="0"/>
              <a:t> 27/02</a:t>
            </a:r>
            <a:endParaRPr lang="es-PE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dirty="0" smtClean="0"/>
              <a:t>To para individuales </a:t>
            </a:r>
            <a:r>
              <a:rPr lang="es-PE" dirty="0" err="1" smtClean="0"/>
              <a:t>opt</a:t>
            </a:r>
            <a:r>
              <a:rPr lang="es-PE" dirty="0" smtClean="0"/>
              <a:t>, off</a:t>
            </a:r>
          </a:p>
          <a:p>
            <a:r>
              <a:rPr lang="es-PE" dirty="0" err="1" smtClean="0"/>
              <a:t>Asi</a:t>
            </a:r>
            <a:r>
              <a:rPr lang="es-PE" dirty="0" smtClean="0"/>
              <a:t> para x2 y x3 </a:t>
            </a:r>
          </a:p>
          <a:p>
            <a:r>
              <a:rPr lang="es-PE" dirty="0" smtClean="0"/>
              <a:t>Medio de venta </a:t>
            </a:r>
            <a:r>
              <a:rPr lang="es-PE" dirty="0" err="1" smtClean="0"/>
              <a:t>salio</a:t>
            </a:r>
            <a:r>
              <a:rPr lang="es-PE" dirty="0" smtClean="0"/>
              <a:t> después</a:t>
            </a:r>
          </a:p>
          <a:p>
            <a:r>
              <a:rPr lang="es-PE" dirty="0" smtClean="0"/>
              <a:t>To fue creado pensado en un </a:t>
            </a:r>
            <a:r>
              <a:rPr lang="es-PE" dirty="0" err="1" smtClean="0"/>
              <a:t>meido</a:t>
            </a:r>
            <a:r>
              <a:rPr lang="es-PE" dirty="0" smtClean="0"/>
              <a:t> impreso pero no digital.</a:t>
            </a:r>
          </a:p>
          <a:p>
            <a:r>
              <a:rPr lang="es-PE" dirty="0" smtClean="0"/>
              <a:t>La definición de una táctica no es del todo cierto si es que lo queremos aplicar a los proyectos de planeamiento digital.</a:t>
            </a:r>
          </a:p>
          <a:p>
            <a:r>
              <a:rPr lang="es-PE" dirty="0" smtClean="0"/>
              <a:t>Hay un medio de venta para </a:t>
            </a:r>
            <a:r>
              <a:rPr lang="es-PE" dirty="0" err="1" smtClean="0"/>
              <a:t>opt</a:t>
            </a:r>
            <a:r>
              <a:rPr lang="es-PE" dirty="0" smtClean="0"/>
              <a:t>… </a:t>
            </a:r>
            <a:r>
              <a:rPr lang="es-PE" dirty="0" err="1" smtClean="0"/>
              <a:t>showroom</a:t>
            </a:r>
            <a:r>
              <a:rPr lang="es-PE" dirty="0" smtClean="0"/>
              <a:t>….. Uno para cada palana</a:t>
            </a:r>
          </a:p>
          <a:p>
            <a:r>
              <a:rPr lang="es-PE" dirty="0" err="1" smtClean="0"/>
              <a:t>Deberia</a:t>
            </a:r>
            <a:r>
              <a:rPr lang="es-PE" dirty="0" smtClean="0"/>
              <a:t> de poner haber un medio de venta para cada palanca y que el TO indique si es unidad, 2x, 3x... </a:t>
            </a:r>
          </a:p>
          <a:p>
            <a:r>
              <a:rPr lang="es-PE" dirty="0" smtClean="0"/>
              <a:t>A los </a:t>
            </a:r>
            <a:r>
              <a:rPr lang="es-PE" dirty="0" err="1" smtClean="0"/>
              <a:t>cuvs</a:t>
            </a:r>
            <a:r>
              <a:rPr lang="es-PE" dirty="0" smtClean="0"/>
              <a:t> se les asigna el medio de venta cuando se cargan</a:t>
            </a:r>
          </a:p>
          <a:p>
            <a:endParaRPr lang="es-PE" dirty="0"/>
          </a:p>
          <a:p>
            <a:endParaRPr lang="es-PE" dirty="0" smtClean="0"/>
          </a:p>
          <a:p>
            <a:endParaRPr lang="es-PE" dirty="0"/>
          </a:p>
          <a:p>
            <a:endParaRPr lang="es-PE" dirty="0" smtClean="0"/>
          </a:p>
          <a:p>
            <a:r>
              <a:rPr lang="es-PE" dirty="0" smtClean="0"/>
              <a:t>Medio de venta?????</a:t>
            </a:r>
          </a:p>
          <a:p>
            <a:r>
              <a:rPr lang="es-PE" dirty="0" err="1" smtClean="0"/>
              <a:t>DesSeccion</a:t>
            </a:r>
            <a:r>
              <a:rPr lang="es-PE" dirty="0" smtClean="0"/>
              <a:t> o </a:t>
            </a:r>
            <a:r>
              <a:rPr lang="es-PE" dirty="0" err="1" smtClean="0"/>
              <a:t>DesZona</a:t>
            </a:r>
            <a:r>
              <a:rPr lang="es-PE" dirty="0" smtClean="0"/>
              <a:t>…validar.</a:t>
            </a:r>
          </a:p>
          <a:p>
            <a:r>
              <a:rPr lang="es-PE" dirty="0" smtClean="0"/>
              <a:t>Para reacción: </a:t>
            </a:r>
            <a:r>
              <a:rPr lang="es-PE" dirty="0" err="1" smtClean="0"/>
              <a:t>flag</a:t>
            </a:r>
            <a:endParaRPr lang="es-PE" dirty="0" smtClean="0"/>
          </a:p>
          <a:p>
            <a:endParaRPr lang="es-PE" dirty="0" smtClean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9929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23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dirty="0" smtClean="0"/>
              <a:t>Carola Propuso un solo TO que integre todas las palancas digitales </a:t>
            </a:r>
          </a:p>
          <a:p>
            <a:r>
              <a:rPr lang="es-PE" dirty="0" smtClean="0"/>
              <a:t>Para estimar solo se usaría ese TO pero a la hora de hacer análisis no se podría diferencias por palancas. </a:t>
            </a:r>
          </a:p>
          <a:p>
            <a:endParaRPr lang="es-PE" dirty="0"/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688581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24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dirty="0" smtClean="0"/>
              <a:t>Partes de la </a:t>
            </a:r>
            <a:r>
              <a:rPr lang="es-PE" dirty="0" err="1" smtClean="0"/>
              <a:t>ppt</a:t>
            </a:r>
            <a:endParaRPr lang="es-PE" dirty="0" smtClean="0"/>
          </a:p>
          <a:p>
            <a:pPr lvl="1"/>
            <a:r>
              <a:rPr lang="es-PE" dirty="0" err="1" smtClean="0"/>
              <a:t>Asi</a:t>
            </a:r>
            <a:r>
              <a:rPr lang="es-PE" dirty="0" smtClean="0"/>
              <a:t> se mide hoy en </a:t>
            </a:r>
            <a:r>
              <a:rPr lang="es-PE" dirty="0" err="1" smtClean="0"/>
              <a:t>dia</a:t>
            </a:r>
            <a:r>
              <a:rPr lang="es-PE" dirty="0" smtClean="0"/>
              <a:t> la venta digital</a:t>
            </a:r>
          </a:p>
          <a:p>
            <a:pPr lvl="2"/>
            <a:r>
              <a:rPr lang="es-PE" dirty="0" smtClean="0"/>
              <a:t>Se encontraron estos problemas </a:t>
            </a:r>
          </a:p>
          <a:p>
            <a:pPr lvl="1"/>
            <a:r>
              <a:rPr lang="es-PE" dirty="0" smtClean="0"/>
              <a:t>Queremos que se mida </a:t>
            </a:r>
            <a:r>
              <a:rPr lang="es-PE" dirty="0" err="1" smtClean="0"/>
              <a:t>asi</a:t>
            </a:r>
            <a:endParaRPr lang="es-PE" dirty="0" smtClean="0"/>
          </a:p>
          <a:p>
            <a:pPr lvl="2"/>
            <a:r>
              <a:rPr lang="es-PE" dirty="0" smtClean="0"/>
              <a:t>Medio de venta para ver si es </a:t>
            </a:r>
            <a:r>
              <a:rPr lang="es-PE" dirty="0" err="1" smtClean="0"/>
              <a:t>perosnalizado</a:t>
            </a:r>
            <a:r>
              <a:rPr lang="es-PE" dirty="0" smtClean="0"/>
              <a:t> a o forzado</a:t>
            </a:r>
          </a:p>
          <a:p>
            <a:pPr lvl="2"/>
            <a:r>
              <a:rPr lang="es-PE" dirty="0" smtClean="0"/>
              <a:t>Tipo de oferta: formato </a:t>
            </a:r>
          </a:p>
          <a:p>
            <a:pPr lvl="2"/>
            <a:r>
              <a:rPr lang="es-PE" dirty="0" smtClean="0"/>
              <a:t>Marcación </a:t>
            </a:r>
            <a:r>
              <a:rPr lang="es-PE" dirty="0" err="1" smtClean="0"/>
              <a:t>belcorp</a:t>
            </a:r>
            <a:r>
              <a:rPr lang="es-PE" dirty="0" smtClean="0"/>
              <a:t>: te da la sección</a:t>
            </a:r>
          </a:p>
          <a:p>
            <a:pPr lvl="2"/>
            <a:endParaRPr lang="es-PE" dirty="0"/>
          </a:p>
          <a:p>
            <a:pPr lvl="2"/>
            <a:endParaRPr lang="es-PE" dirty="0" smtClean="0"/>
          </a:p>
          <a:p>
            <a:pPr lvl="2"/>
            <a:endParaRPr lang="es-PE" dirty="0" smtClean="0"/>
          </a:p>
          <a:p>
            <a:pPr lvl="2"/>
            <a:endParaRPr lang="es-PE" dirty="0" smtClean="0"/>
          </a:p>
        </p:txBody>
      </p:sp>
    </p:spTree>
    <p:extLst>
      <p:ext uri="{BB962C8B-B14F-4D97-AF65-F5344CB8AC3E}">
        <p14:creationId xmlns:p14="http://schemas.microsoft.com/office/powerpoint/2010/main" val="22864706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386390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Como estamos midiendo la venta digital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3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dirty="0" smtClean="0"/>
              <a:t>Actualmente tenemos:</a:t>
            </a:r>
          </a:p>
          <a:p>
            <a:pPr lvl="1"/>
            <a:r>
              <a:rPr lang="es-PE" dirty="0" smtClean="0"/>
              <a:t>El medio de venta  que nos muestra las palancas</a:t>
            </a:r>
          </a:p>
          <a:p>
            <a:pPr lvl="1"/>
            <a:r>
              <a:rPr lang="es-PE" dirty="0" smtClean="0"/>
              <a:t>El tipo de oferta que nos muestra el formato – palanca</a:t>
            </a:r>
          </a:p>
          <a:p>
            <a:pPr lvl="1"/>
            <a:endParaRPr lang="es-PE" dirty="0"/>
          </a:p>
          <a:p>
            <a:pPr lvl="1"/>
            <a:endParaRPr lang="es-PE" dirty="0" smtClean="0"/>
          </a:p>
          <a:p>
            <a:r>
              <a:rPr lang="es-PE" dirty="0" smtClean="0"/>
              <a:t>Mostrar las tablas según BO</a:t>
            </a:r>
          </a:p>
        </p:txBody>
      </p:sp>
    </p:spTree>
    <p:extLst>
      <p:ext uri="{BB962C8B-B14F-4D97-AF65-F5344CB8AC3E}">
        <p14:creationId xmlns:p14="http://schemas.microsoft.com/office/powerpoint/2010/main" val="18536252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¿Qué oportunidades en la medición de los datos de cara al análisis?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4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dirty="0" smtClean="0"/>
              <a:t>Si quiero analizar la venta de OPT vs OF en los países sin CS?</a:t>
            </a:r>
          </a:p>
          <a:p>
            <a:pPr lvl="1"/>
            <a:r>
              <a:rPr lang="es-PE" dirty="0" smtClean="0"/>
              <a:t>No puedo saber cuál  era de qué palanca…, </a:t>
            </a:r>
          </a:p>
          <a:p>
            <a:pPr lvl="1"/>
            <a:r>
              <a:rPr lang="es-PE" dirty="0" smtClean="0"/>
              <a:t>Están catalogados como medio de venta OPT porque todos se crearon como para esa palanca. </a:t>
            </a:r>
            <a:endParaRPr lang="es-PE" dirty="0"/>
          </a:p>
          <a:p>
            <a:pPr lvl="1"/>
            <a:r>
              <a:rPr lang="es-PE" dirty="0" smtClean="0"/>
              <a:t>Pero las ofertas que no llegan a incluirse como OPT, se muestra en OF. </a:t>
            </a:r>
          </a:p>
          <a:p>
            <a:pPr lvl="1"/>
            <a:r>
              <a:rPr lang="es-PE" dirty="0" smtClean="0"/>
              <a:t> Al final me muestra que todos son de OPT, incluyendo las que finalmente aparecieron como OF.</a:t>
            </a:r>
          </a:p>
          <a:p>
            <a:pPr lvl="1"/>
            <a:endParaRPr lang="es-PE" dirty="0"/>
          </a:p>
          <a:p>
            <a:pPr lvl="1"/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8414023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¿Qué oportunidades en la medición de los datos de cara al análisis?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5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dirty="0" smtClean="0"/>
              <a:t>Si quiero analizar OPT vs Gana+/GND</a:t>
            </a:r>
          </a:p>
          <a:p>
            <a:pPr lvl="1"/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4630228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¿Qué oportunidades en la medición de los datos de cara al análisis?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6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dirty="0" smtClean="0"/>
              <a:t>Si quiero analizar si es masivo o personalizado?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724298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7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477062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propuesta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8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139179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marcación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9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dirty="0" err="1" smtClean="0"/>
              <a:t>Simil</a:t>
            </a:r>
            <a:r>
              <a:rPr lang="es-PE" dirty="0" smtClean="0"/>
              <a:t> de exposición con el catálogo.</a:t>
            </a:r>
          </a:p>
          <a:p>
            <a:pPr lvl="1"/>
            <a:r>
              <a:rPr lang="es-PE" dirty="0" smtClean="0"/>
              <a:t>Comparar tamaño y ubicación de ofertas en un catálogo vs zonas y secciones de la </a:t>
            </a:r>
            <a:r>
              <a:rPr lang="es-PE" dirty="0" err="1" smtClean="0"/>
              <a:t>pág</a:t>
            </a:r>
            <a:r>
              <a:rPr lang="es-PE" dirty="0" smtClean="0"/>
              <a:t> web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4386914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lantilla Hub v0">
  <a:themeElements>
    <a:clrScheme name="Personalizado 17">
      <a:dk1>
        <a:sysClr val="windowText" lastClr="000000"/>
      </a:dk1>
      <a:lt1>
        <a:sysClr val="window" lastClr="FFFFFF"/>
      </a:lt1>
      <a:dk2>
        <a:srgbClr val="7988A5"/>
      </a:dk2>
      <a:lt2>
        <a:srgbClr val="C3D2E3"/>
      </a:lt2>
      <a:accent1>
        <a:srgbClr val="5D61C0"/>
      </a:accent1>
      <a:accent2>
        <a:srgbClr val="572E94"/>
      </a:accent2>
      <a:accent3>
        <a:srgbClr val="D72341"/>
      </a:accent3>
      <a:accent4>
        <a:srgbClr val="A9C060"/>
      </a:accent4>
      <a:accent5>
        <a:srgbClr val="589CDA"/>
      </a:accent5>
      <a:accent6>
        <a:srgbClr val="F5CF71"/>
      </a:accent6>
      <a:hlink>
        <a:srgbClr val="43446B"/>
      </a:hlink>
      <a:folHlink>
        <a:srgbClr val="1F135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lantilla Hub v0" id="{157CB4C7-3BE2-4627-89B3-98D9085A1C03}" vid="{602A5E1E-A387-45C5-9A8A-2164E892372A}"/>
    </a:ext>
  </a:extLst>
</a:theme>
</file>

<file path=ppt/theme/theme2.xml><?xml version="1.0" encoding="utf-8"?>
<a:theme xmlns:a="http://schemas.openxmlformats.org/drawingml/2006/main" name="7_Plantilla Hub v0">
  <a:themeElements>
    <a:clrScheme name="Personalizado 17">
      <a:dk1>
        <a:sysClr val="windowText" lastClr="000000"/>
      </a:dk1>
      <a:lt1>
        <a:sysClr val="window" lastClr="FFFFFF"/>
      </a:lt1>
      <a:dk2>
        <a:srgbClr val="7988A5"/>
      </a:dk2>
      <a:lt2>
        <a:srgbClr val="C3D2E3"/>
      </a:lt2>
      <a:accent1>
        <a:srgbClr val="5D61C0"/>
      </a:accent1>
      <a:accent2>
        <a:srgbClr val="572E94"/>
      </a:accent2>
      <a:accent3>
        <a:srgbClr val="D72341"/>
      </a:accent3>
      <a:accent4>
        <a:srgbClr val="A9C060"/>
      </a:accent4>
      <a:accent5>
        <a:srgbClr val="589CDA"/>
      </a:accent5>
      <a:accent6>
        <a:srgbClr val="F5CF71"/>
      </a:accent6>
      <a:hlink>
        <a:srgbClr val="43446B"/>
      </a:hlink>
      <a:folHlink>
        <a:srgbClr val="1F135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lantilla Hub v0" id="{157CB4C7-3BE2-4627-89B3-98D9085A1C03}" vid="{602A5E1E-A387-45C5-9A8A-2164E892372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ersonalizado 17">
    <a:dk1>
      <a:sysClr val="windowText" lastClr="000000"/>
    </a:dk1>
    <a:lt1>
      <a:sysClr val="window" lastClr="FFFFFF"/>
    </a:lt1>
    <a:dk2>
      <a:srgbClr val="7988A5"/>
    </a:dk2>
    <a:lt2>
      <a:srgbClr val="C3D2E3"/>
    </a:lt2>
    <a:accent1>
      <a:srgbClr val="5D61C0"/>
    </a:accent1>
    <a:accent2>
      <a:srgbClr val="572E94"/>
    </a:accent2>
    <a:accent3>
      <a:srgbClr val="D72341"/>
    </a:accent3>
    <a:accent4>
      <a:srgbClr val="A9C060"/>
    </a:accent4>
    <a:accent5>
      <a:srgbClr val="589CDA"/>
    </a:accent5>
    <a:accent6>
      <a:srgbClr val="F5CF71"/>
    </a:accent6>
    <a:hlink>
      <a:srgbClr val="43446B"/>
    </a:hlink>
    <a:folHlink>
      <a:srgbClr val="1F1353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778</TotalTime>
  <Words>958</Words>
  <Application>Microsoft Office PowerPoint</Application>
  <PresentationFormat>Panorámica</PresentationFormat>
  <Paragraphs>178</Paragraphs>
  <Slides>25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25</vt:i4>
      </vt:variant>
    </vt:vector>
  </HeadingPairs>
  <TitlesOfParts>
    <vt:vector size="33" baseType="lpstr">
      <vt:lpstr>MS PGothic</vt:lpstr>
      <vt:lpstr>Arial</vt:lpstr>
      <vt:lpstr>Calibri</vt:lpstr>
      <vt:lpstr>Wingdings</vt:lpstr>
      <vt:lpstr>Plantilla Hub v0</vt:lpstr>
      <vt:lpstr>7_Plantilla Hub v0</vt:lpstr>
      <vt:lpstr>Diapositiva de think-cell</vt:lpstr>
      <vt:lpstr>think-cell Slide</vt:lpstr>
      <vt:lpstr>Análisis de Cuadre de Palancas Digitales</vt:lpstr>
      <vt:lpstr>Como estamos midiendo la venta digital ahora?</vt:lpstr>
      <vt:lpstr>Como estamos midiendo la venta digital</vt:lpstr>
      <vt:lpstr>¿Qué oportunidades en la medición de los datos de cara al análisis?</vt:lpstr>
      <vt:lpstr>¿Qué oportunidades en la medición de los datos de cara al análisis?</vt:lpstr>
      <vt:lpstr>¿Qué oportunidades en la medición de los datos de cara al análisis?</vt:lpstr>
      <vt:lpstr>Presentación de PowerPoint</vt:lpstr>
      <vt:lpstr>propuesta</vt:lpstr>
      <vt:lpstr>marcación</vt:lpstr>
      <vt:lpstr>Presentación de PowerPoint</vt:lpstr>
      <vt:lpstr>Presentación de PowerPoint</vt:lpstr>
      <vt:lpstr>Presentación de PowerPoint</vt:lpstr>
      <vt:lpstr>Presentación de PowerPoint</vt:lpstr>
      <vt:lpstr>Reportes de Palancas Digitales</vt:lpstr>
      <vt:lpstr>Presentación de PowerPoint</vt:lpstr>
      <vt:lpstr>Ejemplos</vt:lpstr>
      <vt:lpstr>Ejemplos</vt:lpstr>
      <vt:lpstr>Metodología</vt:lpstr>
      <vt:lpstr>Principales Hallazgos</vt:lpstr>
      <vt:lpstr>Principales Hallazgos</vt:lpstr>
      <vt:lpstr>Conclusiones </vt:lpstr>
      <vt:lpstr>Apuntes reu 27/02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timación Digital</dc:title>
  <dc:creator>Maria Alejandra Alva O´Connor</dc:creator>
  <cp:lastModifiedBy>Carlos Fabbri  Garcia</cp:lastModifiedBy>
  <cp:revision>257</cp:revision>
  <dcterms:created xsi:type="dcterms:W3CDTF">2017-07-19T15:17:44Z</dcterms:created>
  <dcterms:modified xsi:type="dcterms:W3CDTF">2018-03-01T01:14:57Z</dcterms:modified>
</cp:coreProperties>
</file>